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18" r:id="rId2"/>
    <p:sldMasterId id="2147483730" r:id="rId3"/>
    <p:sldMasterId id="2147483745" r:id="rId4"/>
    <p:sldMasterId id="2147483757" r:id="rId5"/>
  </p:sldMasterIdLst>
  <p:notesMasterIdLst>
    <p:notesMasterId r:id="rId106"/>
  </p:notesMasterIdLst>
  <p:handoutMasterIdLst>
    <p:handoutMasterId r:id="rId107"/>
  </p:handoutMasterIdLst>
  <p:sldIdLst>
    <p:sldId id="1190" r:id="rId6"/>
    <p:sldId id="2147375931" r:id="rId7"/>
    <p:sldId id="2147376020" r:id="rId8"/>
    <p:sldId id="2147376021" r:id="rId9"/>
    <p:sldId id="2147376022" r:id="rId10"/>
    <p:sldId id="259" r:id="rId11"/>
    <p:sldId id="2147375933" r:id="rId12"/>
    <p:sldId id="2147375934" r:id="rId13"/>
    <p:sldId id="2147375936" r:id="rId14"/>
    <p:sldId id="2147375937" r:id="rId15"/>
    <p:sldId id="258" r:id="rId16"/>
    <p:sldId id="2147375938" r:id="rId17"/>
    <p:sldId id="2147375939" r:id="rId18"/>
    <p:sldId id="263" r:id="rId19"/>
    <p:sldId id="2147375940" r:id="rId20"/>
    <p:sldId id="2147375960" r:id="rId21"/>
    <p:sldId id="2147375943" r:id="rId22"/>
    <p:sldId id="2147375944" r:id="rId23"/>
    <p:sldId id="2147375945" r:id="rId24"/>
    <p:sldId id="2147375946" r:id="rId25"/>
    <p:sldId id="2147375947" r:id="rId26"/>
    <p:sldId id="2147375948" r:id="rId27"/>
    <p:sldId id="2147375949" r:id="rId28"/>
    <p:sldId id="2147375950" r:id="rId29"/>
    <p:sldId id="325" r:id="rId30"/>
    <p:sldId id="2147375951" r:id="rId31"/>
    <p:sldId id="2147375952" r:id="rId32"/>
    <p:sldId id="2147375953" r:id="rId33"/>
    <p:sldId id="2147375954" r:id="rId34"/>
    <p:sldId id="2147375955" r:id="rId35"/>
    <p:sldId id="2147375956" r:id="rId36"/>
    <p:sldId id="2147375957" r:id="rId37"/>
    <p:sldId id="2147375958" r:id="rId38"/>
    <p:sldId id="2147375961" r:id="rId39"/>
    <p:sldId id="2147375962" r:id="rId40"/>
    <p:sldId id="2147375963" r:id="rId41"/>
    <p:sldId id="2147375964" r:id="rId42"/>
    <p:sldId id="2147375965" r:id="rId43"/>
    <p:sldId id="2147375966" r:id="rId44"/>
    <p:sldId id="2147375969" r:id="rId45"/>
    <p:sldId id="2147375970" r:id="rId46"/>
    <p:sldId id="2147375973" r:id="rId47"/>
    <p:sldId id="2147375974" r:id="rId48"/>
    <p:sldId id="2147375975" r:id="rId49"/>
    <p:sldId id="2147375976" r:id="rId50"/>
    <p:sldId id="2147375977" r:id="rId51"/>
    <p:sldId id="2147375978" r:id="rId52"/>
    <p:sldId id="2147375979" r:id="rId53"/>
    <p:sldId id="1171" r:id="rId54"/>
    <p:sldId id="2147375980" r:id="rId55"/>
    <p:sldId id="1172" r:id="rId56"/>
    <p:sldId id="1173" r:id="rId57"/>
    <p:sldId id="2147375981" r:id="rId58"/>
    <p:sldId id="2147375982" r:id="rId59"/>
    <p:sldId id="315" r:id="rId60"/>
    <p:sldId id="2147375983" r:id="rId61"/>
    <p:sldId id="316" r:id="rId62"/>
    <p:sldId id="1177" r:id="rId63"/>
    <p:sldId id="2147375984" r:id="rId64"/>
    <p:sldId id="1178" r:id="rId65"/>
    <p:sldId id="1179" r:id="rId66"/>
    <p:sldId id="1180" r:id="rId67"/>
    <p:sldId id="2147375985" r:id="rId68"/>
    <p:sldId id="1182" r:id="rId69"/>
    <p:sldId id="2147375986" r:id="rId70"/>
    <p:sldId id="2147375987" r:id="rId71"/>
    <p:sldId id="2147375988" r:id="rId72"/>
    <p:sldId id="2147375989" r:id="rId73"/>
    <p:sldId id="2147375990" r:id="rId74"/>
    <p:sldId id="2147375991" r:id="rId75"/>
    <p:sldId id="2147375992" r:id="rId76"/>
    <p:sldId id="2147375993" r:id="rId77"/>
    <p:sldId id="2147375994" r:id="rId78"/>
    <p:sldId id="2147375995" r:id="rId79"/>
    <p:sldId id="2147375996" r:id="rId80"/>
    <p:sldId id="2147375997" r:id="rId81"/>
    <p:sldId id="2147375998" r:id="rId82"/>
    <p:sldId id="2147375999" r:id="rId83"/>
    <p:sldId id="1187" r:id="rId84"/>
    <p:sldId id="2147376000" r:id="rId85"/>
    <p:sldId id="2147376001" r:id="rId86"/>
    <p:sldId id="2147376002" r:id="rId87"/>
    <p:sldId id="2147376003" r:id="rId88"/>
    <p:sldId id="2147376004" r:id="rId89"/>
    <p:sldId id="2147376005" r:id="rId90"/>
    <p:sldId id="2147376006" r:id="rId91"/>
    <p:sldId id="2147376007" r:id="rId92"/>
    <p:sldId id="2147376008" r:id="rId93"/>
    <p:sldId id="2147376009" r:id="rId94"/>
    <p:sldId id="2147376010" r:id="rId95"/>
    <p:sldId id="2147376011" r:id="rId96"/>
    <p:sldId id="2147376012" r:id="rId97"/>
    <p:sldId id="2147376013" r:id="rId98"/>
    <p:sldId id="2147376014" r:id="rId99"/>
    <p:sldId id="2147376015" r:id="rId100"/>
    <p:sldId id="2147376016" r:id="rId101"/>
    <p:sldId id="2147376017" r:id="rId102"/>
    <p:sldId id="2147376018" r:id="rId103"/>
    <p:sldId id="2147376019" r:id="rId104"/>
    <p:sldId id="2147375703" r:id="rId105"/>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9" autoAdjust="0"/>
    <p:restoredTop sz="93690" autoAdjust="0"/>
  </p:normalViewPr>
  <p:slideViewPr>
    <p:cSldViewPr>
      <p:cViewPr varScale="1">
        <p:scale>
          <a:sx n="64" d="100"/>
          <a:sy n="64" d="100"/>
        </p:scale>
        <p:origin x="708" y="48"/>
      </p:cViewPr>
      <p:guideLst>
        <p:guide orient="horz" pos="2880"/>
        <p:guide pos="2160"/>
      </p:guideLst>
    </p:cSldViewPr>
  </p:slideViewPr>
  <p:notesTextViewPr>
    <p:cViewPr>
      <p:scale>
        <a:sx n="100" d="100"/>
        <a:sy n="100" d="100"/>
      </p:scale>
      <p:origin x="0" y="0"/>
    </p:cViewPr>
  </p:notesTextViewPr>
  <p:notesViewPr>
    <p:cSldViewPr>
      <p:cViewPr varScale="1">
        <p:scale>
          <a:sx n="63" d="100"/>
          <a:sy n="63" d="100"/>
        </p:scale>
        <p:origin x="1320"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07" Type="http://schemas.openxmlformats.org/officeDocument/2006/relationships/handoutMaster" Target="handoutMasters/handoutMaster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viewProps" Target="viewProps.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thin Mohan [UNext]" userId="385dd2b6-d5cf-4598-8587-f7835bad5e0b" providerId="ADAL" clId="{E895FC88-B9ED-48F8-9240-BBEAD452ABB4}"/>
    <pc:docChg chg="undo custSel addSld delSld modSld sldOrd delMainMaster modMainMaster">
      <pc:chgData name="Jithin Mohan [UNext]" userId="385dd2b6-d5cf-4598-8587-f7835bad5e0b" providerId="ADAL" clId="{E895FC88-B9ED-48F8-9240-BBEAD452ABB4}" dt="2026-01-16T06:57:03.753" v="1494" actId="1076"/>
      <pc:docMkLst>
        <pc:docMk/>
      </pc:docMkLst>
      <pc:sldChg chg="del">
        <pc:chgData name="Jithin Mohan [UNext]" userId="385dd2b6-d5cf-4598-8587-f7835bad5e0b" providerId="ADAL" clId="{E895FC88-B9ED-48F8-9240-BBEAD452ABB4}" dt="2026-01-07T10:14:25.789" v="868" actId="47"/>
        <pc:sldMkLst>
          <pc:docMk/>
          <pc:sldMk cId="1613975849" sldId="256"/>
        </pc:sldMkLst>
      </pc:sldChg>
      <pc:sldChg chg="del">
        <pc:chgData name="Jithin Mohan [UNext]" userId="385dd2b6-d5cf-4598-8587-f7835bad5e0b" providerId="ADAL" clId="{E895FC88-B9ED-48F8-9240-BBEAD452ABB4}" dt="2026-01-07T07:41:06.892" v="9" actId="47"/>
        <pc:sldMkLst>
          <pc:docMk/>
          <pc:sldMk cId="0" sldId="257"/>
        </pc:sldMkLst>
      </pc:sldChg>
      <pc:sldChg chg="del">
        <pc:chgData name="Jithin Mohan [UNext]" userId="385dd2b6-d5cf-4598-8587-f7835bad5e0b" providerId="ADAL" clId="{E895FC88-B9ED-48F8-9240-BBEAD452ABB4}" dt="2026-01-07T07:51:28.490" v="48" actId="47"/>
        <pc:sldMkLst>
          <pc:docMk/>
          <pc:sldMk cId="0" sldId="258"/>
        </pc:sldMkLst>
      </pc:sldChg>
      <pc:sldChg chg="del">
        <pc:chgData name="Jithin Mohan [UNext]" userId="385dd2b6-d5cf-4598-8587-f7835bad5e0b" providerId="ADAL" clId="{E895FC88-B9ED-48F8-9240-BBEAD452ABB4}" dt="2026-01-07T09:56:46.676" v="679" actId="47"/>
        <pc:sldMkLst>
          <pc:docMk/>
          <pc:sldMk cId="0" sldId="259"/>
        </pc:sldMkLst>
      </pc:sldChg>
      <pc:sldChg chg="del">
        <pc:chgData name="Jithin Mohan [UNext]" userId="385dd2b6-d5cf-4598-8587-f7835bad5e0b" providerId="ADAL" clId="{E895FC88-B9ED-48F8-9240-BBEAD452ABB4}" dt="2026-01-07T09:57:13.405" v="685" actId="47"/>
        <pc:sldMkLst>
          <pc:docMk/>
          <pc:sldMk cId="0" sldId="260"/>
        </pc:sldMkLst>
      </pc:sldChg>
      <pc:sldChg chg="del">
        <pc:chgData name="Jithin Mohan [UNext]" userId="385dd2b6-d5cf-4598-8587-f7835bad5e0b" providerId="ADAL" clId="{E895FC88-B9ED-48F8-9240-BBEAD452ABB4}" dt="2026-01-07T09:57:39.513" v="692" actId="47"/>
        <pc:sldMkLst>
          <pc:docMk/>
          <pc:sldMk cId="0" sldId="261"/>
        </pc:sldMkLst>
      </pc:sldChg>
      <pc:sldChg chg="del">
        <pc:chgData name="Jithin Mohan [UNext]" userId="385dd2b6-d5cf-4598-8587-f7835bad5e0b" providerId="ADAL" clId="{E895FC88-B9ED-48F8-9240-BBEAD452ABB4}" dt="2026-01-07T09:58:08.903" v="699" actId="47"/>
        <pc:sldMkLst>
          <pc:docMk/>
          <pc:sldMk cId="0" sldId="262"/>
        </pc:sldMkLst>
      </pc:sldChg>
      <pc:sldChg chg="del">
        <pc:chgData name="Jithin Mohan [UNext]" userId="385dd2b6-d5cf-4598-8587-f7835bad5e0b" providerId="ADAL" clId="{E895FC88-B9ED-48F8-9240-BBEAD452ABB4}" dt="2026-01-07T09:58:36.716" v="706" actId="47"/>
        <pc:sldMkLst>
          <pc:docMk/>
          <pc:sldMk cId="0" sldId="263"/>
        </pc:sldMkLst>
      </pc:sldChg>
      <pc:sldChg chg="del">
        <pc:chgData name="Jithin Mohan [UNext]" userId="385dd2b6-d5cf-4598-8587-f7835bad5e0b" providerId="ADAL" clId="{E895FC88-B9ED-48F8-9240-BBEAD452ABB4}" dt="2026-01-07T09:59:16.132" v="713" actId="47"/>
        <pc:sldMkLst>
          <pc:docMk/>
          <pc:sldMk cId="0" sldId="264"/>
        </pc:sldMkLst>
      </pc:sldChg>
      <pc:sldChg chg="del">
        <pc:chgData name="Jithin Mohan [UNext]" userId="385dd2b6-d5cf-4598-8587-f7835bad5e0b" providerId="ADAL" clId="{E895FC88-B9ED-48F8-9240-BBEAD452ABB4}" dt="2026-01-07T10:00:52.174" v="732" actId="47"/>
        <pc:sldMkLst>
          <pc:docMk/>
          <pc:sldMk cId="0" sldId="265"/>
        </pc:sldMkLst>
      </pc:sldChg>
      <pc:sldChg chg="del">
        <pc:chgData name="Jithin Mohan [UNext]" userId="385dd2b6-d5cf-4598-8587-f7835bad5e0b" providerId="ADAL" clId="{E895FC88-B9ED-48F8-9240-BBEAD452ABB4}" dt="2026-01-07T10:02:03.059" v="739" actId="47"/>
        <pc:sldMkLst>
          <pc:docMk/>
          <pc:sldMk cId="0" sldId="266"/>
        </pc:sldMkLst>
      </pc:sldChg>
      <pc:sldChg chg="addSp modSp add del">
        <pc:chgData name="Jithin Mohan [UNext]" userId="385dd2b6-d5cf-4598-8587-f7835bad5e0b" providerId="ADAL" clId="{E895FC88-B9ED-48F8-9240-BBEAD452ABB4}" dt="2026-01-07T10:02:47.047" v="748" actId="47"/>
        <pc:sldMkLst>
          <pc:docMk/>
          <pc:sldMk cId="0" sldId="267"/>
        </pc:sldMkLst>
        <pc:spChg chg="mod">
          <ac:chgData name="Jithin Mohan [UNext]" userId="385dd2b6-d5cf-4598-8587-f7835bad5e0b" providerId="ADAL" clId="{E895FC88-B9ED-48F8-9240-BBEAD452ABB4}" dt="2026-01-07T10:02:27.334" v="743" actId="164"/>
          <ac:spMkLst>
            <pc:docMk/>
            <pc:sldMk cId="0" sldId="267"/>
            <ac:spMk id="4" creationId="{00000000-0000-0000-0000-000000000000}"/>
          </ac:spMkLst>
        </pc:spChg>
        <pc:spChg chg="mod">
          <ac:chgData name="Jithin Mohan [UNext]" userId="385dd2b6-d5cf-4598-8587-f7835bad5e0b" providerId="ADAL" clId="{E895FC88-B9ED-48F8-9240-BBEAD452ABB4}" dt="2026-01-07T10:02:27.334" v="743" actId="164"/>
          <ac:spMkLst>
            <pc:docMk/>
            <pc:sldMk cId="0" sldId="267"/>
            <ac:spMk id="5" creationId="{00000000-0000-0000-0000-000000000000}"/>
          </ac:spMkLst>
        </pc:spChg>
        <pc:spChg chg="mod">
          <ac:chgData name="Jithin Mohan [UNext]" userId="385dd2b6-d5cf-4598-8587-f7835bad5e0b" providerId="ADAL" clId="{E895FC88-B9ED-48F8-9240-BBEAD452ABB4}" dt="2026-01-07T10:02:27.334" v="743" actId="164"/>
          <ac:spMkLst>
            <pc:docMk/>
            <pc:sldMk cId="0" sldId="267"/>
            <ac:spMk id="6" creationId="{00000000-0000-0000-0000-000000000000}"/>
          </ac:spMkLst>
        </pc:spChg>
        <pc:spChg chg="mod">
          <ac:chgData name="Jithin Mohan [UNext]" userId="385dd2b6-d5cf-4598-8587-f7835bad5e0b" providerId="ADAL" clId="{E895FC88-B9ED-48F8-9240-BBEAD452ABB4}" dt="2026-01-07T10:02:27.334" v="743" actId="164"/>
          <ac:spMkLst>
            <pc:docMk/>
            <pc:sldMk cId="0" sldId="267"/>
            <ac:spMk id="7" creationId="{00000000-0000-0000-0000-000000000000}"/>
          </ac:spMkLst>
        </pc:spChg>
        <pc:grpChg chg="add mod">
          <ac:chgData name="Jithin Mohan [UNext]" userId="385dd2b6-d5cf-4598-8587-f7835bad5e0b" providerId="ADAL" clId="{E895FC88-B9ED-48F8-9240-BBEAD452ABB4}" dt="2026-01-07T10:02:27.334" v="743" actId="164"/>
          <ac:grpSpMkLst>
            <pc:docMk/>
            <pc:sldMk cId="0" sldId="267"/>
            <ac:grpSpMk id="3" creationId="{9AF7E8D7-6211-B6C1-CFEA-BB68C4A354EC}"/>
          </ac:grpSpMkLst>
        </pc:grpChg>
        <pc:picChg chg="mod">
          <ac:chgData name="Jithin Mohan [UNext]" userId="385dd2b6-d5cf-4598-8587-f7835bad5e0b" providerId="ADAL" clId="{E895FC88-B9ED-48F8-9240-BBEAD452ABB4}" dt="2026-01-07T10:02:27.334" v="743" actId="164"/>
          <ac:picMkLst>
            <pc:docMk/>
            <pc:sldMk cId="0" sldId="267"/>
            <ac:picMk id="8" creationId="{00000000-0000-0000-0000-000000000000}"/>
          </ac:picMkLst>
        </pc:picChg>
      </pc:sldChg>
      <pc:sldChg chg="del">
        <pc:chgData name="Jithin Mohan [UNext]" userId="385dd2b6-d5cf-4598-8587-f7835bad5e0b" providerId="ADAL" clId="{E895FC88-B9ED-48F8-9240-BBEAD452ABB4}" dt="2026-01-07T10:03:15.537" v="753" actId="47"/>
        <pc:sldMkLst>
          <pc:docMk/>
          <pc:sldMk cId="0" sldId="268"/>
        </pc:sldMkLst>
      </pc:sldChg>
      <pc:sldChg chg="addSp modSp del">
        <pc:chgData name="Jithin Mohan [UNext]" userId="385dd2b6-d5cf-4598-8587-f7835bad5e0b" providerId="ADAL" clId="{E895FC88-B9ED-48F8-9240-BBEAD452ABB4}" dt="2026-01-07T10:03:51.268" v="761" actId="47"/>
        <pc:sldMkLst>
          <pc:docMk/>
          <pc:sldMk cId="0" sldId="269"/>
        </pc:sldMkLst>
        <pc:spChg chg="mod">
          <ac:chgData name="Jithin Mohan [UNext]" userId="385dd2b6-d5cf-4598-8587-f7835bad5e0b" providerId="ADAL" clId="{E895FC88-B9ED-48F8-9240-BBEAD452ABB4}" dt="2026-01-07T10:03:42.326" v="759" actId="164"/>
          <ac:spMkLst>
            <pc:docMk/>
            <pc:sldMk cId="0" sldId="269"/>
            <ac:spMk id="4" creationId="{00000000-0000-0000-0000-000000000000}"/>
          </ac:spMkLst>
        </pc:spChg>
        <pc:spChg chg="mod">
          <ac:chgData name="Jithin Mohan [UNext]" userId="385dd2b6-d5cf-4598-8587-f7835bad5e0b" providerId="ADAL" clId="{E895FC88-B9ED-48F8-9240-BBEAD452ABB4}" dt="2026-01-07T10:03:42.326" v="759" actId="164"/>
          <ac:spMkLst>
            <pc:docMk/>
            <pc:sldMk cId="0" sldId="269"/>
            <ac:spMk id="5" creationId="{00000000-0000-0000-0000-000000000000}"/>
          </ac:spMkLst>
        </pc:spChg>
        <pc:spChg chg="mod">
          <ac:chgData name="Jithin Mohan [UNext]" userId="385dd2b6-d5cf-4598-8587-f7835bad5e0b" providerId="ADAL" clId="{E895FC88-B9ED-48F8-9240-BBEAD452ABB4}" dt="2026-01-07T10:03:42.326" v="759" actId="164"/>
          <ac:spMkLst>
            <pc:docMk/>
            <pc:sldMk cId="0" sldId="269"/>
            <ac:spMk id="7" creationId="{00000000-0000-0000-0000-000000000000}"/>
          </ac:spMkLst>
        </pc:spChg>
        <pc:spChg chg="mod">
          <ac:chgData name="Jithin Mohan [UNext]" userId="385dd2b6-d5cf-4598-8587-f7835bad5e0b" providerId="ADAL" clId="{E895FC88-B9ED-48F8-9240-BBEAD452ABB4}" dt="2026-01-07T10:03:42.326" v="759" actId="164"/>
          <ac:spMkLst>
            <pc:docMk/>
            <pc:sldMk cId="0" sldId="269"/>
            <ac:spMk id="8" creationId="{00000000-0000-0000-0000-000000000000}"/>
          </ac:spMkLst>
        </pc:spChg>
        <pc:grpChg chg="add mod">
          <ac:chgData name="Jithin Mohan [UNext]" userId="385dd2b6-d5cf-4598-8587-f7835bad5e0b" providerId="ADAL" clId="{E895FC88-B9ED-48F8-9240-BBEAD452ABB4}" dt="2026-01-07T10:03:42.326" v="759" actId="164"/>
          <ac:grpSpMkLst>
            <pc:docMk/>
            <pc:sldMk cId="0" sldId="269"/>
            <ac:grpSpMk id="3" creationId="{CC8A12DE-AC1D-E182-F853-B8E0A0EA4341}"/>
          </ac:grpSpMkLst>
        </pc:grpChg>
        <pc:picChg chg="mod">
          <ac:chgData name="Jithin Mohan [UNext]" userId="385dd2b6-d5cf-4598-8587-f7835bad5e0b" providerId="ADAL" clId="{E895FC88-B9ED-48F8-9240-BBEAD452ABB4}" dt="2026-01-07T10:03:42.326" v="759" actId="164"/>
          <ac:picMkLst>
            <pc:docMk/>
            <pc:sldMk cId="0" sldId="269"/>
            <ac:picMk id="6" creationId="{00000000-0000-0000-0000-000000000000}"/>
          </ac:picMkLst>
        </pc:picChg>
      </pc:sldChg>
      <pc:sldChg chg="addSp modSp del">
        <pc:chgData name="Jithin Mohan [UNext]" userId="385dd2b6-d5cf-4598-8587-f7835bad5e0b" providerId="ADAL" clId="{E895FC88-B9ED-48F8-9240-BBEAD452ABB4}" dt="2026-01-07T10:05:01.490" v="772" actId="47"/>
        <pc:sldMkLst>
          <pc:docMk/>
          <pc:sldMk cId="0" sldId="270"/>
        </pc:sldMkLst>
        <pc:spChg chg="mod">
          <ac:chgData name="Jithin Mohan [UNext]" userId="385dd2b6-d5cf-4598-8587-f7835bad5e0b" providerId="ADAL" clId="{E895FC88-B9ED-48F8-9240-BBEAD452ABB4}" dt="2026-01-07T10:04:16.575" v="765" actId="164"/>
          <ac:spMkLst>
            <pc:docMk/>
            <pc:sldMk cId="0" sldId="270"/>
            <ac:spMk id="4" creationId="{00000000-0000-0000-0000-000000000000}"/>
          </ac:spMkLst>
        </pc:spChg>
        <pc:spChg chg="mod">
          <ac:chgData name="Jithin Mohan [UNext]" userId="385dd2b6-d5cf-4598-8587-f7835bad5e0b" providerId="ADAL" clId="{E895FC88-B9ED-48F8-9240-BBEAD452ABB4}" dt="2026-01-07T10:04:16.575" v="765" actId="164"/>
          <ac:spMkLst>
            <pc:docMk/>
            <pc:sldMk cId="0" sldId="270"/>
            <ac:spMk id="6" creationId="{00000000-0000-0000-0000-000000000000}"/>
          </ac:spMkLst>
        </pc:spChg>
        <pc:spChg chg="mod">
          <ac:chgData name="Jithin Mohan [UNext]" userId="385dd2b6-d5cf-4598-8587-f7835bad5e0b" providerId="ADAL" clId="{E895FC88-B9ED-48F8-9240-BBEAD452ABB4}" dt="2026-01-07T10:04:16.575" v="765" actId="164"/>
          <ac:spMkLst>
            <pc:docMk/>
            <pc:sldMk cId="0" sldId="270"/>
            <ac:spMk id="7" creationId="{00000000-0000-0000-0000-000000000000}"/>
          </ac:spMkLst>
        </pc:spChg>
        <pc:grpChg chg="add mod">
          <ac:chgData name="Jithin Mohan [UNext]" userId="385dd2b6-d5cf-4598-8587-f7835bad5e0b" providerId="ADAL" clId="{E895FC88-B9ED-48F8-9240-BBEAD452ABB4}" dt="2026-01-07T10:04:16.575" v="765" actId="164"/>
          <ac:grpSpMkLst>
            <pc:docMk/>
            <pc:sldMk cId="0" sldId="270"/>
            <ac:grpSpMk id="3" creationId="{5175CE4F-D48E-D325-ADAB-09FA10D78380}"/>
          </ac:grpSpMkLst>
        </pc:grpChg>
        <pc:picChg chg="mod">
          <ac:chgData name="Jithin Mohan [UNext]" userId="385dd2b6-d5cf-4598-8587-f7835bad5e0b" providerId="ADAL" clId="{E895FC88-B9ED-48F8-9240-BBEAD452ABB4}" dt="2026-01-07T10:04:16.575" v="765" actId="164"/>
          <ac:picMkLst>
            <pc:docMk/>
            <pc:sldMk cId="0" sldId="270"/>
            <ac:picMk id="5" creationId="{00000000-0000-0000-0000-000000000000}"/>
          </ac:picMkLst>
        </pc:picChg>
      </pc:sldChg>
      <pc:sldChg chg="del">
        <pc:chgData name="Jithin Mohan [UNext]" userId="385dd2b6-d5cf-4598-8587-f7835bad5e0b" providerId="ADAL" clId="{E895FC88-B9ED-48F8-9240-BBEAD452ABB4}" dt="2026-01-07T10:06:16.961" v="785" actId="47"/>
        <pc:sldMkLst>
          <pc:docMk/>
          <pc:sldMk cId="0" sldId="271"/>
        </pc:sldMkLst>
      </pc:sldChg>
      <pc:sldChg chg="del">
        <pc:chgData name="Jithin Mohan [UNext]" userId="385dd2b6-d5cf-4598-8587-f7835bad5e0b" providerId="ADAL" clId="{E895FC88-B9ED-48F8-9240-BBEAD452ABB4}" dt="2026-01-07T10:07:18.941" v="806" actId="47"/>
        <pc:sldMkLst>
          <pc:docMk/>
          <pc:sldMk cId="0" sldId="272"/>
        </pc:sldMkLst>
      </pc:sldChg>
      <pc:sldChg chg="del">
        <pc:chgData name="Jithin Mohan [UNext]" userId="385dd2b6-d5cf-4598-8587-f7835bad5e0b" providerId="ADAL" clId="{E895FC88-B9ED-48F8-9240-BBEAD452ABB4}" dt="2026-01-08T06:05:23.398" v="1014" actId="47"/>
        <pc:sldMkLst>
          <pc:docMk/>
          <pc:sldMk cId="1221190751" sldId="273"/>
        </pc:sldMkLst>
      </pc:sldChg>
      <pc:sldChg chg="del modNotesTx">
        <pc:chgData name="Jithin Mohan [UNext]" userId="385dd2b6-d5cf-4598-8587-f7835bad5e0b" providerId="ADAL" clId="{E895FC88-B9ED-48F8-9240-BBEAD452ABB4}" dt="2026-01-08T05:59:48.008" v="996" actId="47"/>
        <pc:sldMkLst>
          <pc:docMk/>
          <pc:sldMk cId="1216669243" sldId="274"/>
        </pc:sldMkLst>
      </pc:sldChg>
      <pc:sldChg chg="del">
        <pc:chgData name="Jithin Mohan [UNext]" userId="385dd2b6-d5cf-4598-8587-f7835bad5e0b" providerId="ADAL" clId="{E895FC88-B9ED-48F8-9240-BBEAD452ABB4}" dt="2026-01-08T06:06:50.704" v="1035" actId="47"/>
        <pc:sldMkLst>
          <pc:docMk/>
          <pc:sldMk cId="3474574984" sldId="275"/>
        </pc:sldMkLst>
      </pc:sldChg>
      <pc:sldChg chg="del">
        <pc:chgData name="Jithin Mohan [UNext]" userId="385dd2b6-d5cf-4598-8587-f7835bad5e0b" providerId="ADAL" clId="{E895FC88-B9ED-48F8-9240-BBEAD452ABB4}" dt="2026-01-08T06:07:30.309" v="1042" actId="47"/>
        <pc:sldMkLst>
          <pc:docMk/>
          <pc:sldMk cId="1068761795" sldId="276"/>
        </pc:sldMkLst>
      </pc:sldChg>
      <pc:sldChg chg="del">
        <pc:chgData name="Jithin Mohan [UNext]" userId="385dd2b6-d5cf-4598-8587-f7835bad5e0b" providerId="ADAL" clId="{E895FC88-B9ED-48F8-9240-BBEAD452ABB4}" dt="2026-01-08T06:08:50.014" v="1057" actId="47"/>
        <pc:sldMkLst>
          <pc:docMk/>
          <pc:sldMk cId="3256367157" sldId="277"/>
        </pc:sldMkLst>
      </pc:sldChg>
      <pc:sldChg chg="del">
        <pc:chgData name="Jithin Mohan [UNext]" userId="385dd2b6-d5cf-4598-8587-f7835bad5e0b" providerId="ADAL" clId="{E895FC88-B9ED-48F8-9240-BBEAD452ABB4}" dt="2026-01-08T06:22:06.632" v="1216" actId="47"/>
        <pc:sldMkLst>
          <pc:docMk/>
          <pc:sldMk cId="2485831804" sldId="278"/>
        </pc:sldMkLst>
      </pc:sldChg>
      <pc:sldChg chg="del">
        <pc:chgData name="Jithin Mohan [UNext]" userId="385dd2b6-d5cf-4598-8587-f7835bad5e0b" providerId="ADAL" clId="{E895FC88-B9ED-48F8-9240-BBEAD452ABB4}" dt="2026-01-08T06:23:05.805" v="1228" actId="47"/>
        <pc:sldMkLst>
          <pc:docMk/>
          <pc:sldMk cId="155303093" sldId="279"/>
        </pc:sldMkLst>
      </pc:sldChg>
      <pc:sldChg chg="del">
        <pc:chgData name="Jithin Mohan [UNext]" userId="385dd2b6-d5cf-4598-8587-f7835bad5e0b" providerId="ADAL" clId="{E895FC88-B9ED-48F8-9240-BBEAD452ABB4}" dt="2026-01-08T10:56:45.111" v="1302" actId="47"/>
        <pc:sldMkLst>
          <pc:docMk/>
          <pc:sldMk cId="2420028609" sldId="280"/>
        </pc:sldMkLst>
      </pc:sldChg>
      <pc:sldChg chg="del">
        <pc:chgData name="Jithin Mohan [UNext]" userId="385dd2b6-d5cf-4598-8587-f7835bad5e0b" providerId="ADAL" clId="{E895FC88-B9ED-48F8-9240-BBEAD452ABB4}" dt="2026-01-08T10:57:11.069" v="1305" actId="47"/>
        <pc:sldMkLst>
          <pc:docMk/>
          <pc:sldMk cId="3771989470" sldId="281"/>
        </pc:sldMkLst>
      </pc:sldChg>
      <pc:sldChg chg="del">
        <pc:chgData name="Jithin Mohan [UNext]" userId="385dd2b6-d5cf-4598-8587-f7835bad5e0b" providerId="ADAL" clId="{E895FC88-B9ED-48F8-9240-BBEAD452ABB4}" dt="2026-01-08T10:59:08.461" v="1314" actId="47"/>
        <pc:sldMkLst>
          <pc:docMk/>
          <pc:sldMk cId="545962918" sldId="282"/>
        </pc:sldMkLst>
      </pc:sldChg>
      <pc:sldChg chg="del">
        <pc:chgData name="Jithin Mohan [UNext]" userId="385dd2b6-d5cf-4598-8587-f7835bad5e0b" providerId="ADAL" clId="{E895FC88-B9ED-48F8-9240-BBEAD452ABB4}" dt="2026-01-08T11:01:37.848" v="1345" actId="47"/>
        <pc:sldMkLst>
          <pc:docMk/>
          <pc:sldMk cId="1863418571" sldId="283"/>
        </pc:sldMkLst>
      </pc:sldChg>
      <pc:sldChg chg="del">
        <pc:chgData name="Jithin Mohan [UNext]" userId="385dd2b6-d5cf-4598-8587-f7835bad5e0b" providerId="ADAL" clId="{E895FC88-B9ED-48F8-9240-BBEAD452ABB4}" dt="2026-01-08T11:02:02.801" v="1353" actId="47"/>
        <pc:sldMkLst>
          <pc:docMk/>
          <pc:sldMk cId="2659268367" sldId="284"/>
        </pc:sldMkLst>
      </pc:sldChg>
      <pc:sldChg chg="del">
        <pc:chgData name="Jithin Mohan [UNext]" userId="385dd2b6-d5cf-4598-8587-f7835bad5e0b" providerId="ADAL" clId="{E895FC88-B9ED-48F8-9240-BBEAD452ABB4}" dt="2026-01-08T11:03:18.052" v="1383" actId="47"/>
        <pc:sldMkLst>
          <pc:docMk/>
          <pc:sldMk cId="4259594832" sldId="285"/>
        </pc:sldMkLst>
      </pc:sldChg>
      <pc:sldChg chg="modSp del mod">
        <pc:chgData name="Jithin Mohan [UNext]" userId="385dd2b6-d5cf-4598-8587-f7835bad5e0b" providerId="ADAL" clId="{E895FC88-B9ED-48F8-9240-BBEAD452ABB4}" dt="2026-01-08T11:44:35.746" v="1401" actId="47"/>
        <pc:sldMkLst>
          <pc:docMk/>
          <pc:sldMk cId="1116724477" sldId="286"/>
        </pc:sldMkLst>
        <pc:spChg chg="mod">
          <ac:chgData name="Jithin Mohan [UNext]" userId="385dd2b6-d5cf-4598-8587-f7835bad5e0b" providerId="ADAL" clId="{E895FC88-B9ED-48F8-9240-BBEAD452ABB4}" dt="2026-01-07T07:40:29.406" v="4" actId="27636"/>
          <ac:spMkLst>
            <pc:docMk/>
            <pc:sldMk cId="1116724477" sldId="286"/>
            <ac:spMk id="3" creationId="{B7BB98A5-8563-9294-4FE9-449E9E233EA8}"/>
          </ac:spMkLst>
        </pc:spChg>
      </pc:sldChg>
      <pc:sldChg chg="del">
        <pc:chgData name="Jithin Mohan [UNext]" userId="385dd2b6-d5cf-4598-8587-f7835bad5e0b" providerId="ADAL" clId="{E895FC88-B9ED-48F8-9240-BBEAD452ABB4}" dt="2026-01-08T11:56:31.475" v="1416" actId="47"/>
        <pc:sldMkLst>
          <pc:docMk/>
          <pc:sldMk cId="3687644909" sldId="287"/>
        </pc:sldMkLst>
      </pc:sldChg>
      <pc:sldChg chg="del">
        <pc:chgData name="Jithin Mohan [UNext]" userId="385dd2b6-d5cf-4598-8587-f7835bad5e0b" providerId="ADAL" clId="{E895FC88-B9ED-48F8-9240-BBEAD452ABB4}" dt="2026-01-08T11:57:37.016" v="1432" actId="47"/>
        <pc:sldMkLst>
          <pc:docMk/>
          <pc:sldMk cId="3954057008" sldId="288"/>
        </pc:sldMkLst>
      </pc:sldChg>
      <pc:sldChg chg="del">
        <pc:chgData name="Jithin Mohan [UNext]" userId="385dd2b6-d5cf-4598-8587-f7835bad5e0b" providerId="ADAL" clId="{E895FC88-B9ED-48F8-9240-BBEAD452ABB4}" dt="2026-01-08T11:58:14.691" v="1435" actId="47"/>
        <pc:sldMkLst>
          <pc:docMk/>
          <pc:sldMk cId="1278062340" sldId="289"/>
        </pc:sldMkLst>
      </pc:sldChg>
      <pc:sldChg chg="del">
        <pc:chgData name="Jithin Mohan [UNext]" userId="385dd2b6-d5cf-4598-8587-f7835bad5e0b" providerId="ADAL" clId="{E895FC88-B9ED-48F8-9240-BBEAD452ABB4}" dt="2026-01-08T11:59:02.232" v="1446" actId="47"/>
        <pc:sldMkLst>
          <pc:docMk/>
          <pc:sldMk cId="4099461618" sldId="290"/>
        </pc:sldMkLst>
      </pc:sldChg>
      <pc:sldChg chg="add del">
        <pc:chgData name="Jithin Mohan [UNext]" userId="385dd2b6-d5cf-4598-8587-f7835bad5e0b" providerId="ADAL" clId="{E895FC88-B9ED-48F8-9240-BBEAD452ABB4}" dt="2026-01-08T12:00:28.998" v="1473" actId="47"/>
        <pc:sldMkLst>
          <pc:docMk/>
          <pc:sldMk cId="2429207745" sldId="291"/>
        </pc:sldMkLst>
      </pc:sldChg>
      <pc:sldChg chg="del">
        <pc:chgData name="Jithin Mohan [UNext]" userId="385dd2b6-d5cf-4598-8587-f7835bad5e0b" providerId="ADAL" clId="{E895FC88-B9ED-48F8-9240-BBEAD452ABB4}" dt="2026-01-08T12:00:30.301" v="1474" actId="47"/>
        <pc:sldMkLst>
          <pc:docMk/>
          <pc:sldMk cId="1158518996" sldId="292"/>
        </pc:sldMkLst>
      </pc:sldChg>
      <pc:sldChg chg="del">
        <pc:chgData name="Jithin Mohan [UNext]" userId="385dd2b6-d5cf-4598-8587-f7835bad5e0b" providerId="ADAL" clId="{E895FC88-B9ED-48F8-9240-BBEAD452ABB4}" dt="2026-01-07T10:10:50.160" v="834" actId="47"/>
        <pc:sldMkLst>
          <pc:docMk/>
          <pc:sldMk cId="0" sldId="293"/>
        </pc:sldMkLst>
      </pc:sldChg>
      <pc:sldChg chg="del">
        <pc:chgData name="Jithin Mohan [UNext]" userId="385dd2b6-d5cf-4598-8587-f7835bad5e0b" providerId="ADAL" clId="{E895FC88-B9ED-48F8-9240-BBEAD452ABB4}" dt="2026-01-07T10:12:06.859" v="848" actId="47"/>
        <pc:sldMkLst>
          <pc:docMk/>
          <pc:sldMk cId="0" sldId="294"/>
        </pc:sldMkLst>
      </pc:sldChg>
      <pc:sldChg chg="del">
        <pc:chgData name="Jithin Mohan [UNext]" userId="385dd2b6-d5cf-4598-8587-f7835bad5e0b" providerId="ADAL" clId="{E895FC88-B9ED-48F8-9240-BBEAD452ABB4}" dt="2026-01-07T10:13:21.812" v="860" actId="47"/>
        <pc:sldMkLst>
          <pc:docMk/>
          <pc:sldMk cId="0" sldId="295"/>
        </pc:sldMkLst>
      </pc:sldChg>
      <pc:sldChg chg="del">
        <pc:chgData name="Jithin Mohan [UNext]" userId="385dd2b6-d5cf-4598-8587-f7835bad5e0b" providerId="ADAL" clId="{E895FC88-B9ED-48F8-9240-BBEAD452ABB4}" dt="2026-01-08T11:00:28.593" v="1325" actId="47"/>
        <pc:sldMkLst>
          <pc:docMk/>
          <pc:sldMk cId="2772891423" sldId="296"/>
        </pc:sldMkLst>
      </pc:sldChg>
      <pc:sldChg chg="modSp del mod">
        <pc:chgData name="Jithin Mohan [UNext]" userId="385dd2b6-d5cf-4598-8587-f7835bad5e0b" providerId="ADAL" clId="{E895FC88-B9ED-48F8-9240-BBEAD452ABB4}" dt="2026-01-07T10:19:12.158" v="902" actId="47"/>
        <pc:sldMkLst>
          <pc:docMk/>
          <pc:sldMk cId="2468462522" sldId="298"/>
        </pc:sldMkLst>
        <pc:spChg chg="mod">
          <ac:chgData name="Jithin Mohan [UNext]" userId="385dd2b6-d5cf-4598-8587-f7835bad5e0b" providerId="ADAL" clId="{E895FC88-B9ED-48F8-9240-BBEAD452ABB4}" dt="2026-01-07T10:18:40.845" v="894" actId="20577"/>
          <ac:spMkLst>
            <pc:docMk/>
            <pc:sldMk cId="2468462522" sldId="298"/>
            <ac:spMk id="2" creationId="{85A3DA4E-B27C-EC56-E8E7-BC4EC6023251}"/>
          </ac:spMkLst>
        </pc:spChg>
      </pc:sldChg>
      <pc:sldChg chg="del">
        <pc:chgData name="Jithin Mohan [UNext]" userId="385dd2b6-d5cf-4598-8587-f7835bad5e0b" providerId="ADAL" clId="{E895FC88-B9ED-48F8-9240-BBEAD452ABB4}" dt="2026-01-08T10:56:09.481" v="1292" actId="47"/>
        <pc:sldMkLst>
          <pc:docMk/>
          <pc:sldMk cId="3459240899" sldId="303"/>
        </pc:sldMkLst>
      </pc:sldChg>
      <pc:sldChg chg="del">
        <pc:chgData name="Jithin Mohan [UNext]" userId="385dd2b6-d5cf-4598-8587-f7835bad5e0b" providerId="ADAL" clId="{E895FC88-B9ED-48F8-9240-BBEAD452ABB4}" dt="2026-01-08T10:54:46.711" v="1265" actId="47"/>
        <pc:sldMkLst>
          <pc:docMk/>
          <pc:sldMk cId="2046084059" sldId="304"/>
        </pc:sldMkLst>
      </pc:sldChg>
      <pc:sldChg chg="del">
        <pc:chgData name="Jithin Mohan [UNext]" userId="385dd2b6-d5cf-4598-8587-f7835bad5e0b" providerId="ADAL" clId="{E895FC88-B9ED-48F8-9240-BBEAD452ABB4}" dt="2026-01-08T10:52:44.221" v="1235" actId="47"/>
        <pc:sldMkLst>
          <pc:docMk/>
          <pc:sldMk cId="601331866" sldId="305"/>
        </pc:sldMkLst>
      </pc:sldChg>
      <pc:sldChg chg="del">
        <pc:chgData name="Jithin Mohan [UNext]" userId="385dd2b6-d5cf-4598-8587-f7835bad5e0b" providerId="ADAL" clId="{E895FC88-B9ED-48F8-9240-BBEAD452ABB4}" dt="2026-01-08T10:53:05.270" v="1240" actId="47"/>
        <pc:sldMkLst>
          <pc:docMk/>
          <pc:sldMk cId="965334555" sldId="306"/>
        </pc:sldMkLst>
      </pc:sldChg>
      <pc:sldChg chg="del">
        <pc:chgData name="Jithin Mohan [UNext]" userId="385dd2b6-d5cf-4598-8587-f7835bad5e0b" providerId="ADAL" clId="{E895FC88-B9ED-48F8-9240-BBEAD452ABB4}" dt="2026-01-07T07:41:11.368" v="11" actId="47"/>
        <pc:sldMkLst>
          <pc:docMk/>
          <pc:sldMk cId="0" sldId="309"/>
        </pc:sldMkLst>
      </pc:sldChg>
      <pc:sldChg chg="del">
        <pc:chgData name="Jithin Mohan [UNext]" userId="385dd2b6-d5cf-4598-8587-f7835bad5e0b" providerId="ADAL" clId="{E895FC88-B9ED-48F8-9240-BBEAD452ABB4}" dt="2026-01-07T07:41:18.017" v="12" actId="47"/>
        <pc:sldMkLst>
          <pc:docMk/>
          <pc:sldMk cId="0" sldId="311"/>
        </pc:sldMkLst>
      </pc:sldChg>
      <pc:sldChg chg="del">
        <pc:chgData name="Jithin Mohan [UNext]" userId="385dd2b6-d5cf-4598-8587-f7835bad5e0b" providerId="ADAL" clId="{E895FC88-B9ED-48F8-9240-BBEAD452ABB4}" dt="2026-01-07T07:50:05.237" v="31" actId="47"/>
        <pc:sldMkLst>
          <pc:docMk/>
          <pc:sldMk cId="1401140931" sldId="312"/>
        </pc:sldMkLst>
      </pc:sldChg>
      <pc:sldChg chg="del">
        <pc:chgData name="Jithin Mohan [UNext]" userId="385dd2b6-d5cf-4598-8587-f7835bad5e0b" providerId="ADAL" clId="{E895FC88-B9ED-48F8-9240-BBEAD452ABB4}" dt="2026-01-07T07:55:08.814" v="66" actId="47"/>
        <pc:sldMkLst>
          <pc:docMk/>
          <pc:sldMk cId="247049108" sldId="314"/>
        </pc:sldMkLst>
      </pc:sldChg>
      <pc:sldChg chg="modSp mod">
        <pc:chgData name="Jithin Mohan [UNext]" userId="385dd2b6-d5cf-4598-8587-f7835bad5e0b" providerId="ADAL" clId="{E895FC88-B9ED-48F8-9240-BBEAD452ABB4}" dt="2026-01-08T05:57:00.730" v="944" actId="1076"/>
        <pc:sldMkLst>
          <pc:docMk/>
          <pc:sldMk cId="1788540625" sldId="315"/>
        </pc:sldMkLst>
        <pc:spChg chg="mod">
          <ac:chgData name="Jithin Mohan [UNext]" userId="385dd2b6-d5cf-4598-8587-f7835bad5e0b" providerId="ADAL" clId="{E895FC88-B9ED-48F8-9240-BBEAD452ABB4}" dt="2026-01-08T05:56:45.578" v="941" actId="1036"/>
          <ac:spMkLst>
            <pc:docMk/>
            <pc:sldMk cId="1788540625" sldId="315"/>
            <ac:spMk id="7" creationId="{E6F8022F-A815-F17C-614B-23B9AD437C8B}"/>
          </ac:spMkLst>
        </pc:spChg>
        <pc:spChg chg="mod">
          <ac:chgData name="Jithin Mohan [UNext]" userId="385dd2b6-d5cf-4598-8587-f7835bad5e0b" providerId="ADAL" clId="{E895FC88-B9ED-48F8-9240-BBEAD452ABB4}" dt="2026-01-08T05:56:45.578" v="941" actId="1036"/>
          <ac:spMkLst>
            <pc:docMk/>
            <pc:sldMk cId="1788540625" sldId="315"/>
            <ac:spMk id="8" creationId="{288EAD4F-92D0-7340-3097-7C2F2EB22D20}"/>
          </ac:spMkLst>
        </pc:spChg>
        <pc:spChg chg="mod">
          <ac:chgData name="Jithin Mohan [UNext]" userId="385dd2b6-d5cf-4598-8587-f7835bad5e0b" providerId="ADAL" clId="{E895FC88-B9ED-48F8-9240-BBEAD452ABB4}" dt="2026-01-08T05:56:45.578" v="941" actId="1036"/>
          <ac:spMkLst>
            <pc:docMk/>
            <pc:sldMk cId="1788540625" sldId="315"/>
            <ac:spMk id="10" creationId="{D806B6A0-9F37-C709-42EC-50C8727AE28C}"/>
          </ac:spMkLst>
        </pc:spChg>
        <pc:spChg chg="mod">
          <ac:chgData name="Jithin Mohan [UNext]" userId="385dd2b6-d5cf-4598-8587-f7835bad5e0b" providerId="ADAL" clId="{E895FC88-B9ED-48F8-9240-BBEAD452ABB4}" dt="2026-01-08T05:56:45.578" v="941" actId="1036"/>
          <ac:spMkLst>
            <pc:docMk/>
            <pc:sldMk cId="1788540625" sldId="315"/>
            <ac:spMk id="11" creationId="{FFBE698B-3C13-99F9-665F-91E83CD7CD9E}"/>
          </ac:spMkLst>
        </pc:spChg>
        <pc:spChg chg="mod">
          <ac:chgData name="Jithin Mohan [UNext]" userId="385dd2b6-d5cf-4598-8587-f7835bad5e0b" providerId="ADAL" clId="{E895FC88-B9ED-48F8-9240-BBEAD452ABB4}" dt="2026-01-08T05:56:45.578" v="941" actId="1036"/>
          <ac:spMkLst>
            <pc:docMk/>
            <pc:sldMk cId="1788540625" sldId="315"/>
            <ac:spMk id="13" creationId="{49B5A5A7-F84B-60CE-74CE-E30D3203D969}"/>
          </ac:spMkLst>
        </pc:spChg>
        <pc:spChg chg="mod">
          <ac:chgData name="Jithin Mohan [UNext]" userId="385dd2b6-d5cf-4598-8587-f7835bad5e0b" providerId="ADAL" clId="{E895FC88-B9ED-48F8-9240-BBEAD452ABB4}" dt="2026-01-08T05:57:00.730" v="944" actId="1076"/>
          <ac:spMkLst>
            <pc:docMk/>
            <pc:sldMk cId="1788540625" sldId="315"/>
            <ac:spMk id="16" creationId="{DA1E825D-231A-D0A3-BDDD-94B05BAC3F20}"/>
          </ac:spMkLst>
        </pc:spChg>
        <pc:spChg chg="mod">
          <ac:chgData name="Jithin Mohan [UNext]" userId="385dd2b6-d5cf-4598-8587-f7835bad5e0b" providerId="ADAL" clId="{E895FC88-B9ED-48F8-9240-BBEAD452ABB4}" dt="2026-01-08T05:56:45.578" v="941" actId="1036"/>
          <ac:spMkLst>
            <pc:docMk/>
            <pc:sldMk cId="1788540625" sldId="315"/>
            <ac:spMk id="17" creationId="{31199461-7C75-37AD-2CCE-D5934EBAE817}"/>
          </ac:spMkLst>
        </pc:spChg>
        <pc:spChg chg="mod">
          <ac:chgData name="Jithin Mohan [UNext]" userId="385dd2b6-d5cf-4598-8587-f7835bad5e0b" providerId="ADAL" clId="{E895FC88-B9ED-48F8-9240-BBEAD452ABB4}" dt="2026-01-08T05:56:51.161" v="943" actId="1035"/>
          <ac:spMkLst>
            <pc:docMk/>
            <pc:sldMk cId="1788540625" sldId="315"/>
            <ac:spMk id="18" creationId="{24B148DD-EC2F-A557-69A5-BAC464D27F2C}"/>
          </ac:spMkLst>
        </pc:spChg>
        <pc:spChg chg="mod">
          <ac:chgData name="Jithin Mohan [UNext]" userId="385dd2b6-d5cf-4598-8587-f7835bad5e0b" providerId="ADAL" clId="{E895FC88-B9ED-48F8-9240-BBEAD452ABB4}" dt="2026-01-08T05:56:45.578" v="941" actId="1036"/>
          <ac:spMkLst>
            <pc:docMk/>
            <pc:sldMk cId="1788540625" sldId="315"/>
            <ac:spMk id="19" creationId="{87094860-E2C9-2FB3-582D-C4638505E505}"/>
          </ac:spMkLst>
        </pc:spChg>
        <pc:spChg chg="mod">
          <ac:chgData name="Jithin Mohan [UNext]" userId="385dd2b6-d5cf-4598-8587-f7835bad5e0b" providerId="ADAL" clId="{E895FC88-B9ED-48F8-9240-BBEAD452ABB4}" dt="2026-01-08T05:56:45.578" v="941" actId="1036"/>
          <ac:spMkLst>
            <pc:docMk/>
            <pc:sldMk cId="1788540625" sldId="315"/>
            <ac:spMk id="22" creationId="{453533CB-75CC-2FBA-DBD4-6AF36DA9B19B}"/>
          </ac:spMkLst>
        </pc:spChg>
        <pc:spChg chg="mod">
          <ac:chgData name="Jithin Mohan [UNext]" userId="385dd2b6-d5cf-4598-8587-f7835bad5e0b" providerId="ADAL" clId="{E895FC88-B9ED-48F8-9240-BBEAD452ABB4}" dt="2026-01-08T05:56:45.578" v="941" actId="1036"/>
          <ac:spMkLst>
            <pc:docMk/>
            <pc:sldMk cId="1788540625" sldId="315"/>
            <ac:spMk id="26" creationId="{EDBD9376-4324-D364-67E0-FF3ACD72506A}"/>
          </ac:spMkLst>
        </pc:spChg>
        <pc:spChg chg="mod">
          <ac:chgData name="Jithin Mohan [UNext]" userId="385dd2b6-d5cf-4598-8587-f7835bad5e0b" providerId="ADAL" clId="{E895FC88-B9ED-48F8-9240-BBEAD452ABB4}" dt="2026-01-08T05:56:45.578" v="941" actId="1036"/>
          <ac:spMkLst>
            <pc:docMk/>
            <pc:sldMk cId="1788540625" sldId="315"/>
            <ac:spMk id="35" creationId="{A9885984-A295-F8B4-5318-50AF4377246F}"/>
          </ac:spMkLst>
        </pc:spChg>
        <pc:spChg chg="mod">
          <ac:chgData name="Jithin Mohan [UNext]" userId="385dd2b6-d5cf-4598-8587-f7835bad5e0b" providerId="ADAL" clId="{E895FC88-B9ED-48F8-9240-BBEAD452ABB4}" dt="2026-01-08T05:56:45.578" v="941" actId="1036"/>
          <ac:spMkLst>
            <pc:docMk/>
            <pc:sldMk cId="1788540625" sldId="315"/>
            <ac:spMk id="36" creationId="{86D5A831-286E-E6C5-0B35-EA4D1206400F}"/>
          </ac:spMkLst>
        </pc:spChg>
        <pc:spChg chg="mod">
          <ac:chgData name="Jithin Mohan [UNext]" userId="385dd2b6-d5cf-4598-8587-f7835bad5e0b" providerId="ADAL" clId="{E895FC88-B9ED-48F8-9240-BBEAD452ABB4}" dt="2026-01-08T05:56:45.578" v="941" actId="1036"/>
          <ac:spMkLst>
            <pc:docMk/>
            <pc:sldMk cId="1788540625" sldId="315"/>
            <ac:spMk id="39" creationId="{172CCFF0-A3CE-59CA-24B8-BE8759E4AD21}"/>
          </ac:spMkLst>
        </pc:spChg>
        <pc:picChg chg="mod">
          <ac:chgData name="Jithin Mohan [UNext]" userId="385dd2b6-d5cf-4598-8587-f7835bad5e0b" providerId="ADAL" clId="{E895FC88-B9ED-48F8-9240-BBEAD452ABB4}" dt="2026-01-08T05:56:45.578" v="941" actId="1036"/>
          <ac:picMkLst>
            <pc:docMk/>
            <pc:sldMk cId="1788540625" sldId="315"/>
            <ac:picMk id="9" creationId="{5E086026-7080-41B3-AF87-25768A482192}"/>
          </ac:picMkLst>
        </pc:picChg>
        <pc:picChg chg="mod">
          <ac:chgData name="Jithin Mohan [UNext]" userId="385dd2b6-d5cf-4598-8587-f7835bad5e0b" providerId="ADAL" clId="{E895FC88-B9ED-48F8-9240-BBEAD452ABB4}" dt="2026-01-08T05:56:45.578" v="941" actId="1036"/>
          <ac:picMkLst>
            <pc:docMk/>
            <pc:sldMk cId="1788540625" sldId="315"/>
            <ac:picMk id="12" creationId="{CD9396A2-581C-943F-A500-0525E57C3257}"/>
          </ac:picMkLst>
        </pc:picChg>
        <pc:picChg chg="mod">
          <ac:chgData name="Jithin Mohan [UNext]" userId="385dd2b6-d5cf-4598-8587-f7835bad5e0b" providerId="ADAL" clId="{E895FC88-B9ED-48F8-9240-BBEAD452ABB4}" dt="2026-01-08T05:56:45.578" v="941" actId="1036"/>
          <ac:picMkLst>
            <pc:docMk/>
            <pc:sldMk cId="1788540625" sldId="315"/>
            <ac:picMk id="15" creationId="{F9EB42CB-4C1A-01F6-7CA4-0E40EBF1CEED}"/>
          </ac:picMkLst>
        </pc:picChg>
        <pc:cxnChg chg="mod">
          <ac:chgData name="Jithin Mohan [UNext]" userId="385dd2b6-d5cf-4598-8587-f7835bad5e0b" providerId="ADAL" clId="{E895FC88-B9ED-48F8-9240-BBEAD452ABB4}" dt="2026-01-08T05:56:45.578" v="941" actId="1036"/>
          <ac:cxnSpMkLst>
            <pc:docMk/>
            <pc:sldMk cId="1788540625" sldId="315"/>
            <ac:cxnSpMk id="33" creationId="{366933CD-84AC-D8D8-BDA5-1D1110A423AD}"/>
          </ac:cxnSpMkLst>
        </pc:cxnChg>
        <pc:cxnChg chg="mod">
          <ac:chgData name="Jithin Mohan [UNext]" userId="385dd2b6-d5cf-4598-8587-f7835bad5e0b" providerId="ADAL" clId="{E895FC88-B9ED-48F8-9240-BBEAD452ABB4}" dt="2026-01-08T05:56:45.578" v="941" actId="1036"/>
          <ac:cxnSpMkLst>
            <pc:docMk/>
            <pc:sldMk cId="1788540625" sldId="315"/>
            <ac:cxnSpMk id="37" creationId="{21F4BBEC-E267-8967-5285-382EFA2E1774}"/>
          </ac:cxnSpMkLst>
        </pc:cxnChg>
      </pc:sldChg>
      <pc:sldChg chg="modSp mod">
        <pc:chgData name="Jithin Mohan [UNext]" userId="385dd2b6-d5cf-4598-8587-f7835bad5e0b" providerId="ADAL" clId="{E895FC88-B9ED-48F8-9240-BBEAD452ABB4}" dt="2026-01-08T05:58:02.159" v="963" actId="1036"/>
        <pc:sldMkLst>
          <pc:docMk/>
          <pc:sldMk cId="2018927955" sldId="316"/>
        </pc:sldMkLst>
        <pc:spChg chg="mod">
          <ac:chgData name="Jithin Mohan [UNext]" userId="385dd2b6-d5cf-4598-8587-f7835bad5e0b" providerId="ADAL" clId="{E895FC88-B9ED-48F8-9240-BBEAD452ABB4}" dt="2026-01-08T05:58:02.159" v="963" actId="1036"/>
          <ac:spMkLst>
            <pc:docMk/>
            <pc:sldMk cId="2018927955" sldId="316"/>
            <ac:spMk id="2" creationId="{470A9A0B-951B-3BEA-317A-5BF106728E46}"/>
          </ac:spMkLst>
        </pc:spChg>
        <pc:spChg chg="mod">
          <ac:chgData name="Jithin Mohan [UNext]" userId="385dd2b6-d5cf-4598-8587-f7835bad5e0b" providerId="ADAL" clId="{E895FC88-B9ED-48F8-9240-BBEAD452ABB4}" dt="2026-01-08T05:58:02.159" v="963" actId="1036"/>
          <ac:spMkLst>
            <pc:docMk/>
            <pc:sldMk cId="2018927955" sldId="316"/>
            <ac:spMk id="3" creationId="{386BA70E-6299-4228-293B-69BEC3CFBD32}"/>
          </ac:spMkLst>
        </pc:spChg>
        <pc:spChg chg="mod">
          <ac:chgData name="Jithin Mohan [UNext]" userId="385dd2b6-d5cf-4598-8587-f7835bad5e0b" providerId="ADAL" clId="{E895FC88-B9ED-48F8-9240-BBEAD452ABB4}" dt="2026-01-08T05:58:02.159" v="963" actId="1036"/>
          <ac:spMkLst>
            <pc:docMk/>
            <pc:sldMk cId="2018927955" sldId="316"/>
            <ac:spMk id="4" creationId="{8D324B63-6B1F-5024-EBC2-DC7DB93A62D1}"/>
          </ac:spMkLst>
        </pc:spChg>
        <pc:spChg chg="mod">
          <ac:chgData name="Jithin Mohan [UNext]" userId="385dd2b6-d5cf-4598-8587-f7835bad5e0b" providerId="ADAL" clId="{E895FC88-B9ED-48F8-9240-BBEAD452ABB4}" dt="2026-01-08T05:58:02.159" v="963" actId="1036"/>
          <ac:spMkLst>
            <pc:docMk/>
            <pc:sldMk cId="2018927955" sldId="316"/>
            <ac:spMk id="5" creationId="{BBBF2598-80E5-6F2B-6463-B04154D7DB21}"/>
          </ac:spMkLst>
        </pc:spChg>
        <pc:spChg chg="mod">
          <ac:chgData name="Jithin Mohan [UNext]" userId="385dd2b6-d5cf-4598-8587-f7835bad5e0b" providerId="ADAL" clId="{E895FC88-B9ED-48F8-9240-BBEAD452ABB4}" dt="2026-01-08T05:58:02.159" v="963" actId="1036"/>
          <ac:spMkLst>
            <pc:docMk/>
            <pc:sldMk cId="2018927955" sldId="316"/>
            <ac:spMk id="6" creationId="{70ADBEA6-1CB4-B26D-A16E-42A7748C62F9}"/>
          </ac:spMkLst>
        </pc:spChg>
        <pc:spChg chg="mod">
          <ac:chgData name="Jithin Mohan [UNext]" userId="385dd2b6-d5cf-4598-8587-f7835bad5e0b" providerId="ADAL" clId="{E895FC88-B9ED-48F8-9240-BBEAD452ABB4}" dt="2026-01-08T05:58:02.159" v="963" actId="1036"/>
          <ac:spMkLst>
            <pc:docMk/>
            <pc:sldMk cId="2018927955" sldId="316"/>
            <ac:spMk id="7" creationId="{DDB0C09B-C451-C219-4038-D528407A5D87}"/>
          </ac:spMkLst>
        </pc:spChg>
        <pc:spChg chg="mod">
          <ac:chgData name="Jithin Mohan [UNext]" userId="385dd2b6-d5cf-4598-8587-f7835bad5e0b" providerId="ADAL" clId="{E895FC88-B9ED-48F8-9240-BBEAD452ABB4}" dt="2026-01-08T05:58:02.159" v="963" actId="1036"/>
          <ac:spMkLst>
            <pc:docMk/>
            <pc:sldMk cId="2018927955" sldId="316"/>
            <ac:spMk id="32" creationId="{B2BAC061-2EC3-CC5E-9312-EB404215165F}"/>
          </ac:spMkLst>
        </pc:spChg>
        <pc:spChg chg="mod">
          <ac:chgData name="Jithin Mohan [UNext]" userId="385dd2b6-d5cf-4598-8587-f7835bad5e0b" providerId="ADAL" clId="{E895FC88-B9ED-48F8-9240-BBEAD452ABB4}" dt="2026-01-08T05:58:02.159" v="963" actId="1036"/>
          <ac:spMkLst>
            <pc:docMk/>
            <pc:sldMk cId="2018927955" sldId="316"/>
            <ac:spMk id="38" creationId="{55FBDBD9-536F-6787-68C7-B2DF19CBAE37}"/>
          </ac:spMkLst>
        </pc:spChg>
        <pc:cxnChg chg="mod">
          <ac:chgData name="Jithin Mohan [UNext]" userId="385dd2b6-d5cf-4598-8587-f7835bad5e0b" providerId="ADAL" clId="{E895FC88-B9ED-48F8-9240-BBEAD452ABB4}" dt="2026-01-08T05:58:02.159" v="963" actId="1036"/>
          <ac:cxnSpMkLst>
            <pc:docMk/>
            <pc:sldMk cId="2018927955" sldId="316"/>
            <ac:cxnSpMk id="21" creationId="{5DB7D7D6-EE61-96BD-2591-0840003B5E57}"/>
          </ac:cxnSpMkLst>
        </pc:cxnChg>
        <pc:cxnChg chg="mod">
          <ac:chgData name="Jithin Mohan [UNext]" userId="385dd2b6-d5cf-4598-8587-f7835bad5e0b" providerId="ADAL" clId="{E895FC88-B9ED-48F8-9240-BBEAD452ABB4}" dt="2026-01-08T05:58:02.159" v="963" actId="1036"/>
          <ac:cxnSpMkLst>
            <pc:docMk/>
            <pc:sldMk cId="2018927955" sldId="316"/>
            <ac:cxnSpMk id="23" creationId="{C250DF00-F8A0-ED3D-B2D7-AE1C3D19D2B0}"/>
          </ac:cxnSpMkLst>
        </pc:cxnChg>
        <pc:cxnChg chg="mod">
          <ac:chgData name="Jithin Mohan [UNext]" userId="385dd2b6-d5cf-4598-8587-f7835bad5e0b" providerId="ADAL" clId="{E895FC88-B9ED-48F8-9240-BBEAD452ABB4}" dt="2026-01-08T05:58:02.159" v="963" actId="1036"/>
          <ac:cxnSpMkLst>
            <pc:docMk/>
            <pc:sldMk cId="2018927955" sldId="316"/>
            <ac:cxnSpMk id="25" creationId="{D676821D-EBB9-13F2-95E9-01F82D99A292}"/>
          </ac:cxnSpMkLst>
        </pc:cxnChg>
      </pc:sldChg>
      <pc:sldChg chg="modSp add del mod">
        <pc:chgData name="Jithin Mohan [UNext]" userId="385dd2b6-d5cf-4598-8587-f7835bad5e0b" providerId="ADAL" clId="{E895FC88-B9ED-48F8-9240-BBEAD452ABB4}" dt="2026-01-07T09:15:22.657" v="429" actId="47"/>
        <pc:sldMkLst>
          <pc:docMk/>
          <pc:sldMk cId="2428904342" sldId="317"/>
        </pc:sldMkLst>
        <pc:spChg chg="mod">
          <ac:chgData name="Jithin Mohan [UNext]" userId="385dd2b6-d5cf-4598-8587-f7835bad5e0b" providerId="ADAL" clId="{E895FC88-B9ED-48F8-9240-BBEAD452ABB4}" dt="2026-01-07T09:07:07.018" v="292" actId="1076"/>
          <ac:spMkLst>
            <pc:docMk/>
            <pc:sldMk cId="2428904342" sldId="317"/>
            <ac:spMk id="3" creationId="{D04927F2-4804-037C-C36F-6DFB8FBB863C}"/>
          </ac:spMkLst>
        </pc:spChg>
      </pc:sldChg>
      <pc:sldChg chg="del">
        <pc:chgData name="Jithin Mohan [UNext]" userId="385dd2b6-d5cf-4598-8587-f7835bad5e0b" providerId="ADAL" clId="{E895FC88-B9ED-48F8-9240-BBEAD452ABB4}" dt="2026-01-07T09:16:52.091" v="445" actId="47"/>
        <pc:sldMkLst>
          <pc:docMk/>
          <pc:sldMk cId="4020367767" sldId="318"/>
        </pc:sldMkLst>
      </pc:sldChg>
      <pc:sldChg chg="del">
        <pc:chgData name="Jithin Mohan [UNext]" userId="385dd2b6-d5cf-4598-8587-f7835bad5e0b" providerId="ADAL" clId="{E895FC88-B9ED-48F8-9240-BBEAD452ABB4}" dt="2026-01-07T09:56:19.244" v="673" actId="47"/>
        <pc:sldMkLst>
          <pc:docMk/>
          <pc:sldMk cId="745902578" sldId="319"/>
        </pc:sldMkLst>
      </pc:sldChg>
      <pc:sldChg chg="del">
        <pc:chgData name="Jithin Mohan [UNext]" userId="385dd2b6-d5cf-4598-8587-f7835bad5e0b" providerId="ADAL" clId="{E895FC88-B9ED-48F8-9240-BBEAD452ABB4}" dt="2026-01-07T07:41:09.492" v="10" actId="47"/>
        <pc:sldMkLst>
          <pc:docMk/>
          <pc:sldMk cId="1236504886" sldId="320"/>
        </pc:sldMkLst>
      </pc:sldChg>
      <pc:sldChg chg="del">
        <pc:chgData name="Jithin Mohan [UNext]" userId="385dd2b6-d5cf-4598-8587-f7835bad5e0b" providerId="ADAL" clId="{E895FC88-B9ED-48F8-9240-BBEAD452ABB4}" dt="2026-01-07T08:49:35.373" v="105" actId="47"/>
        <pc:sldMkLst>
          <pc:docMk/>
          <pc:sldMk cId="1647418681" sldId="321"/>
        </pc:sldMkLst>
      </pc:sldChg>
      <pc:sldChg chg="del">
        <pc:chgData name="Jithin Mohan [UNext]" userId="385dd2b6-d5cf-4598-8587-f7835bad5e0b" providerId="ADAL" clId="{E895FC88-B9ED-48F8-9240-BBEAD452ABB4}" dt="2026-01-07T08:58:28.968" v="173" actId="47"/>
        <pc:sldMkLst>
          <pc:docMk/>
          <pc:sldMk cId="2479876130" sldId="322"/>
        </pc:sldMkLst>
      </pc:sldChg>
      <pc:sldChg chg="del">
        <pc:chgData name="Jithin Mohan [UNext]" userId="385dd2b6-d5cf-4598-8587-f7835bad5e0b" providerId="ADAL" clId="{E895FC88-B9ED-48F8-9240-BBEAD452ABB4}" dt="2026-01-07T09:21:01.685" v="455" actId="47"/>
        <pc:sldMkLst>
          <pc:docMk/>
          <pc:sldMk cId="121163299" sldId="323"/>
        </pc:sldMkLst>
      </pc:sldChg>
      <pc:sldChg chg="del">
        <pc:chgData name="Jithin Mohan [UNext]" userId="385dd2b6-d5cf-4598-8587-f7835bad5e0b" providerId="ADAL" clId="{E895FC88-B9ED-48F8-9240-BBEAD452ABB4}" dt="2026-01-07T09:21:46.221" v="463" actId="47"/>
        <pc:sldMkLst>
          <pc:docMk/>
          <pc:sldMk cId="3060506181" sldId="324"/>
        </pc:sldMkLst>
      </pc:sldChg>
      <pc:sldChg chg="addSp modSp mod">
        <pc:chgData name="Jithin Mohan [UNext]" userId="385dd2b6-d5cf-4598-8587-f7835bad5e0b" providerId="ADAL" clId="{E895FC88-B9ED-48F8-9240-BBEAD452ABB4}" dt="2026-01-07T09:42:37.519" v="508" actId="20577"/>
        <pc:sldMkLst>
          <pc:docMk/>
          <pc:sldMk cId="1412654957" sldId="325"/>
        </pc:sldMkLst>
        <pc:spChg chg="add mod">
          <ac:chgData name="Jithin Mohan [UNext]" userId="385dd2b6-d5cf-4598-8587-f7835bad5e0b" providerId="ADAL" clId="{E895FC88-B9ED-48F8-9240-BBEAD452ABB4}" dt="2026-01-07T09:42:37.519" v="508" actId="20577"/>
          <ac:spMkLst>
            <pc:docMk/>
            <pc:sldMk cId="1412654957" sldId="325"/>
            <ac:spMk id="2" creationId="{789375E0-9A0B-A411-7DED-D416D9B3B525}"/>
          </ac:spMkLst>
        </pc:spChg>
      </pc:sldChg>
      <pc:sldChg chg="delSp modSp del mod">
        <pc:chgData name="Jithin Mohan [UNext]" userId="385dd2b6-d5cf-4598-8587-f7835bad5e0b" providerId="ADAL" clId="{E895FC88-B9ED-48F8-9240-BBEAD452ABB4}" dt="2026-01-07T09:43:36.824" v="531" actId="47"/>
        <pc:sldMkLst>
          <pc:docMk/>
          <pc:sldMk cId="3349605149" sldId="326"/>
        </pc:sldMkLst>
        <pc:spChg chg="del mod">
          <ac:chgData name="Jithin Mohan [UNext]" userId="385dd2b6-d5cf-4598-8587-f7835bad5e0b" providerId="ADAL" clId="{E895FC88-B9ED-48F8-9240-BBEAD452ABB4}" dt="2026-01-07T09:43:01.144" v="511" actId="478"/>
          <ac:spMkLst>
            <pc:docMk/>
            <pc:sldMk cId="3349605149" sldId="326"/>
            <ac:spMk id="4" creationId="{9EBC66FA-B05D-9F03-DA97-B332838EE903}"/>
          </ac:spMkLst>
        </pc:spChg>
      </pc:sldChg>
      <pc:sldChg chg="del">
        <pc:chgData name="Jithin Mohan [UNext]" userId="385dd2b6-d5cf-4598-8587-f7835bad5e0b" providerId="ADAL" clId="{E895FC88-B9ED-48F8-9240-BBEAD452ABB4}" dt="2026-01-07T09:44:38.024" v="546" actId="47"/>
        <pc:sldMkLst>
          <pc:docMk/>
          <pc:sldMk cId="3242961216" sldId="327"/>
        </pc:sldMkLst>
      </pc:sldChg>
      <pc:sldChg chg="del">
        <pc:chgData name="Jithin Mohan [UNext]" userId="385dd2b6-d5cf-4598-8587-f7835bad5e0b" providerId="ADAL" clId="{E895FC88-B9ED-48F8-9240-BBEAD452ABB4}" dt="2026-01-08T06:12:00.460" v="1102" actId="47"/>
        <pc:sldMkLst>
          <pc:docMk/>
          <pc:sldMk cId="3726184551" sldId="328"/>
        </pc:sldMkLst>
      </pc:sldChg>
      <pc:sldChg chg="del">
        <pc:chgData name="Jithin Mohan [UNext]" userId="385dd2b6-d5cf-4598-8587-f7835bad5e0b" providerId="ADAL" clId="{E895FC88-B9ED-48F8-9240-BBEAD452ABB4}" dt="2026-01-08T06:15:25.458" v="1114" actId="47"/>
        <pc:sldMkLst>
          <pc:docMk/>
          <pc:sldMk cId="1121601001" sldId="329"/>
        </pc:sldMkLst>
      </pc:sldChg>
      <pc:sldChg chg="del">
        <pc:chgData name="Jithin Mohan [UNext]" userId="385dd2b6-d5cf-4598-8587-f7835bad5e0b" providerId="ADAL" clId="{E895FC88-B9ED-48F8-9240-BBEAD452ABB4}" dt="2026-01-08T06:16:19.958" v="1128" actId="47"/>
        <pc:sldMkLst>
          <pc:docMk/>
          <pc:sldMk cId="3343857608" sldId="330"/>
        </pc:sldMkLst>
      </pc:sldChg>
      <pc:sldChg chg="modSp add del mod">
        <pc:chgData name="Jithin Mohan [UNext]" userId="385dd2b6-d5cf-4598-8587-f7835bad5e0b" providerId="ADAL" clId="{E895FC88-B9ED-48F8-9240-BBEAD452ABB4}" dt="2026-01-08T06:17:55.341" v="1164" actId="47"/>
        <pc:sldMkLst>
          <pc:docMk/>
          <pc:sldMk cId="2474147736" sldId="331"/>
        </pc:sldMkLst>
        <pc:spChg chg="mod">
          <ac:chgData name="Jithin Mohan [UNext]" userId="385dd2b6-d5cf-4598-8587-f7835bad5e0b" providerId="ADAL" clId="{E895FC88-B9ED-48F8-9240-BBEAD452ABB4}" dt="2026-01-07T07:40:29.390" v="3" actId="27636"/>
          <ac:spMkLst>
            <pc:docMk/>
            <pc:sldMk cId="2474147736" sldId="331"/>
            <ac:spMk id="3" creationId="{FF6A15B5-8573-D4E3-11F8-DDE36391281E}"/>
          </ac:spMkLst>
        </pc:spChg>
      </pc:sldChg>
      <pc:sldChg chg="del">
        <pc:chgData name="Jithin Mohan [UNext]" userId="385dd2b6-d5cf-4598-8587-f7835bad5e0b" providerId="ADAL" clId="{E895FC88-B9ED-48F8-9240-BBEAD452ABB4}" dt="2026-01-08T06:18:39.803" v="1173" actId="47"/>
        <pc:sldMkLst>
          <pc:docMk/>
          <pc:sldMk cId="1641021252" sldId="332"/>
        </pc:sldMkLst>
      </pc:sldChg>
      <pc:sldChg chg="modSp del mod">
        <pc:chgData name="Jithin Mohan [UNext]" userId="385dd2b6-d5cf-4598-8587-f7835bad5e0b" providerId="ADAL" clId="{E895FC88-B9ED-48F8-9240-BBEAD452ABB4}" dt="2026-01-08T06:19:10.966" v="1181" actId="47"/>
        <pc:sldMkLst>
          <pc:docMk/>
          <pc:sldMk cId="1910401756" sldId="333"/>
        </pc:sldMkLst>
        <pc:spChg chg="mod">
          <ac:chgData name="Jithin Mohan [UNext]" userId="385dd2b6-d5cf-4598-8587-f7835bad5e0b" providerId="ADAL" clId="{E895FC88-B9ED-48F8-9240-BBEAD452ABB4}" dt="2026-01-08T05:54:19.068" v="915" actId="27636"/>
          <ac:spMkLst>
            <pc:docMk/>
            <pc:sldMk cId="1910401756" sldId="333"/>
            <ac:spMk id="3" creationId="{3FFCBD32-6851-9D0B-4ADF-656489D37674}"/>
          </ac:spMkLst>
        </pc:spChg>
      </pc:sldChg>
      <pc:sldChg chg="addSp delSp modSp mod">
        <pc:chgData name="Jithin Mohan [UNext]" userId="385dd2b6-d5cf-4598-8587-f7835bad5e0b" providerId="ADAL" clId="{E895FC88-B9ED-48F8-9240-BBEAD452ABB4}" dt="2026-01-07T10:00:13.926" v="727" actId="1076"/>
        <pc:sldMkLst>
          <pc:docMk/>
          <pc:sldMk cId="2033011250" sldId="334"/>
        </pc:sldMkLst>
        <pc:spChg chg="del mod">
          <ac:chgData name="Jithin Mohan [UNext]" userId="385dd2b6-d5cf-4598-8587-f7835bad5e0b" providerId="ADAL" clId="{E895FC88-B9ED-48F8-9240-BBEAD452ABB4}" dt="2026-01-07T10:00:03.308" v="724" actId="478"/>
          <ac:spMkLst>
            <pc:docMk/>
            <pc:sldMk cId="2033011250" sldId="334"/>
            <ac:spMk id="2" creationId="{9CE9F582-D582-E64B-6013-CBFD7756FAF7}"/>
          </ac:spMkLst>
        </pc:spChg>
        <pc:spChg chg="add mod">
          <ac:chgData name="Jithin Mohan [UNext]" userId="385dd2b6-d5cf-4598-8587-f7835bad5e0b" providerId="ADAL" clId="{E895FC88-B9ED-48F8-9240-BBEAD452ABB4}" dt="2026-01-07T10:00:00.424" v="722"/>
          <ac:spMkLst>
            <pc:docMk/>
            <pc:sldMk cId="2033011250" sldId="334"/>
            <ac:spMk id="3" creationId="{1A82F57B-A0FD-4B62-4FBE-C4DDF244DC1F}"/>
          </ac:spMkLst>
        </pc:spChg>
        <pc:picChg chg="mod modCrop">
          <ac:chgData name="Jithin Mohan [UNext]" userId="385dd2b6-d5cf-4598-8587-f7835bad5e0b" providerId="ADAL" clId="{E895FC88-B9ED-48F8-9240-BBEAD452ABB4}" dt="2026-01-07T10:00:13.926" v="727" actId="1076"/>
          <ac:picMkLst>
            <pc:docMk/>
            <pc:sldMk cId="2033011250" sldId="334"/>
            <ac:picMk id="4" creationId="{CC82882F-0FC7-B3EB-AA58-A24A828A7F3A}"/>
          </ac:picMkLst>
        </pc:picChg>
      </pc:sldChg>
      <pc:sldChg chg="del">
        <pc:chgData name="Jithin Mohan [UNext]" userId="385dd2b6-d5cf-4598-8587-f7835bad5e0b" providerId="ADAL" clId="{E895FC88-B9ED-48F8-9240-BBEAD452ABB4}" dt="2026-01-07T10:13:45.866" v="862" actId="47"/>
        <pc:sldMkLst>
          <pc:docMk/>
          <pc:sldMk cId="604154407" sldId="335"/>
        </pc:sldMkLst>
      </pc:sldChg>
      <pc:sldChg chg="addSp modSp del">
        <pc:chgData name="Jithin Mohan [UNext]" userId="385dd2b6-d5cf-4598-8587-f7835bad5e0b" providerId="ADAL" clId="{E895FC88-B9ED-48F8-9240-BBEAD452ABB4}" dt="2026-01-07T09:00:24.184" v="197" actId="47"/>
        <pc:sldMkLst>
          <pc:docMk/>
          <pc:sldMk cId="0" sldId="336"/>
        </pc:sldMkLst>
        <pc:spChg chg="mod">
          <ac:chgData name="Jithin Mohan [UNext]" userId="385dd2b6-d5cf-4598-8587-f7835bad5e0b" providerId="ADAL" clId="{E895FC88-B9ED-48F8-9240-BBEAD452ABB4}" dt="2026-01-07T08:59:06.713" v="177" actId="164"/>
          <ac:spMkLst>
            <pc:docMk/>
            <pc:sldMk cId="0" sldId="336"/>
            <ac:spMk id="4"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5"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6"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7"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8"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9"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0"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1"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2"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3"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4"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5"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6"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7"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8" creationId="{00000000-0000-0000-0000-000000000000}"/>
          </ac:spMkLst>
        </pc:spChg>
        <pc:spChg chg="mod">
          <ac:chgData name="Jithin Mohan [UNext]" userId="385dd2b6-d5cf-4598-8587-f7835bad5e0b" providerId="ADAL" clId="{E895FC88-B9ED-48F8-9240-BBEAD452ABB4}" dt="2026-01-07T08:59:06.713" v="177" actId="164"/>
          <ac:spMkLst>
            <pc:docMk/>
            <pc:sldMk cId="0" sldId="336"/>
            <ac:spMk id="19" creationId="{00000000-0000-0000-0000-000000000000}"/>
          </ac:spMkLst>
        </pc:spChg>
        <pc:grpChg chg="add mod">
          <ac:chgData name="Jithin Mohan [UNext]" userId="385dd2b6-d5cf-4598-8587-f7835bad5e0b" providerId="ADAL" clId="{E895FC88-B9ED-48F8-9240-BBEAD452ABB4}" dt="2026-01-07T08:59:06.713" v="177" actId="164"/>
          <ac:grpSpMkLst>
            <pc:docMk/>
            <pc:sldMk cId="0" sldId="336"/>
            <ac:grpSpMk id="20" creationId="{DD0B9258-7FBB-E184-B1A9-A9165840D107}"/>
          </ac:grpSpMkLst>
        </pc:grpChg>
      </pc:sldChg>
      <pc:sldChg chg="del">
        <pc:chgData name="Jithin Mohan [UNext]" userId="385dd2b6-d5cf-4598-8587-f7835bad5e0b" providerId="ADAL" clId="{E895FC88-B9ED-48F8-9240-BBEAD452ABB4}" dt="2026-01-07T09:04:57.483" v="253" actId="47"/>
        <pc:sldMkLst>
          <pc:docMk/>
          <pc:sldMk cId="4004534320" sldId="337"/>
        </pc:sldMkLst>
      </pc:sldChg>
      <pc:sldChg chg="del">
        <pc:chgData name="Jithin Mohan [UNext]" userId="385dd2b6-d5cf-4598-8587-f7835bad5e0b" providerId="ADAL" clId="{E895FC88-B9ED-48F8-9240-BBEAD452ABB4}" dt="2026-01-07T09:41:54.879" v="481" actId="47"/>
        <pc:sldMkLst>
          <pc:docMk/>
          <pc:sldMk cId="3896907365" sldId="338"/>
        </pc:sldMkLst>
      </pc:sldChg>
      <pc:sldChg chg="del">
        <pc:chgData name="Jithin Mohan [UNext]" userId="385dd2b6-d5cf-4598-8587-f7835bad5e0b" providerId="ADAL" clId="{E895FC88-B9ED-48F8-9240-BBEAD452ABB4}" dt="2026-01-07T08:48:25.716" v="87" actId="47"/>
        <pc:sldMkLst>
          <pc:docMk/>
          <pc:sldMk cId="2348118079" sldId="339"/>
        </pc:sldMkLst>
      </pc:sldChg>
      <pc:sldChg chg="del">
        <pc:chgData name="Jithin Mohan [UNext]" userId="385dd2b6-d5cf-4598-8587-f7835bad5e0b" providerId="ADAL" clId="{E895FC88-B9ED-48F8-9240-BBEAD452ABB4}" dt="2026-01-07T09:45:38.194" v="563" actId="47"/>
        <pc:sldMkLst>
          <pc:docMk/>
          <pc:sldMk cId="1500862045" sldId="340"/>
        </pc:sldMkLst>
      </pc:sldChg>
      <pc:sldChg chg="modSp del mod">
        <pc:chgData name="Jithin Mohan [UNext]" userId="385dd2b6-d5cf-4598-8587-f7835bad5e0b" providerId="ADAL" clId="{E895FC88-B9ED-48F8-9240-BBEAD452ABB4}" dt="2026-01-07T09:48:01.357" v="583" actId="47"/>
        <pc:sldMkLst>
          <pc:docMk/>
          <pc:sldMk cId="2920148612" sldId="342"/>
        </pc:sldMkLst>
        <pc:spChg chg="mod">
          <ac:chgData name="Jithin Mohan [UNext]" userId="385dd2b6-d5cf-4598-8587-f7835bad5e0b" providerId="ADAL" clId="{E895FC88-B9ED-48F8-9240-BBEAD452ABB4}" dt="2026-01-07T09:46:53.896" v="571" actId="207"/>
          <ac:spMkLst>
            <pc:docMk/>
            <pc:sldMk cId="2920148612" sldId="342"/>
            <ac:spMk id="3" creationId="{65A867A9-5EC8-536D-704A-77F0BA8DAEDA}"/>
          </ac:spMkLst>
        </pc:spChg>
      </pc:sldChg>
      <pc:sldChg chg="modSp del mod">
        <pc:chgData name="Jithin Mohan [UNext]" userId="385dd2b6-d5cf-4598-8587-f7835bad5e0b" providerId="ADAL" clId="{E895FC88-B9ED-48F8-9240-BBEAD452ABB4}" dt="2026-01-07T09:51:48.643" v="610" actId="47"/>
        <pc:sldMkLst>
          <pc:docMk/>
          <pc:sldMk cId="2850903479" sldId="343"/>
        </pc:sldMkLst>
        <pc:spChg chg="mod">
          <ac:chgData name="Jithin Mohan [UNext]" userId="385dd2b6-d5cf-4598-8587-f7835bad5e0b" providerId="ADAL" clId="{E895FC88-B9ED-48F8-9240-BBEAD452ABB4}" dt="2026-01-07T09:50:42.278" v="599" actId="1076"/>
          <ac:spMkLst>
            <pc:docMk/>
            <pc:sldMk cId="2850903479" sldId="343"/>
            <ac:spMk id="3" creationId="{35ED0522-67D6-A3D5-3BBD-1F8F27CDDA7C}"/>
          </ac:spMkLst>
        </pc:spChg>
      </pc:sldChg>
      <pc:sldChg chg="modSp del mod">
        <pc:chgData name="Jithin Mohan [UNext]" userId="385dd2b6-d5cf-4598-8587-f7835bad5e0b" providerId="ADAL" clId="{E895FC88-B9ED-48F8-9240-BBEAD452ABB4}" dt="2026-01-07T09:53:09.475" v="623" actId="47"/>
        <pc:sldMkLst>
          <pc:docMk/>
          <pc:sldMk cId="1937449269" sldId="344"/>
        </pc:sldMkLst>
        <pc:spChg chg="mod">
          <ac:chgData name="Jithin Mohan [UNext]" userId="385dd2b6-d5cf-4598-8587-f7835bad5e0b" providerId="ADAL" clId="{E895FC88-B9ED-48F8-9240-BBEAD452ABB4}" dt="2026-01-07T09:52:08.799" v="611" actId="207"/>
          <ac:spMkLst>
            <pc:docMk/>
            <pc:sldMk cId="1937449269" sldId="344"/>
            <ac:spMk id="3" creationId="{F46DAE6C-5D13-0D11-836E-37642306DCC5}"/>
          </ac:spMkLst>
        </pc:spChg>
      </pc:sldChg>
      <pc:sldChg chg="del">
        <pc:chgData name="Jithin Mohan [UNext]" userId="385dd2b6-d5cf-4598-8587-f7835bad5e0b" providerId="ADAL" clId="{E895FC88-B9ED-48F8-9240-BBEAD452ABB4}" dt="2026-01-07T09:55:01.794" v="651" actId="47"/>
        <pc:sldMkLst>
          <pc:docMk/>
          <pc:sldMk cId="1221415535" sldId="346"/>
        </pc:sldMkLst>
      </pc:sldChg>
      <pc:sldChg chg="modSp del mod">
        <pc:chgData name="Jithin Mohan [UNext]" userId="385dd2b6-d5cf-4598-8587-f7835bad5e0b" providerId="ADAL" clId="{E895FC88-B9ED-48F8-9240-BBEAD452ABB4}" dt="2026-01-07T09:05:25.540" v="263" actId="47"/>
        <pc:sldMkLst>
          <pc:docMk/>
          <pc:sldMk cId="0" sldId="347"/>
        </pc:sldMkLst>
        <pc:spChg chg="mod">
          <ac:chgData name="Jithin Mohan [UNext]" userId="385dd2b6-d5cf-4598-8587-f7835bad5e0b" providerId="ADAL" clId="{E895FC88-B9ED-48F8-9240-BBEAD452ABB4}" dt="2026-01-07T09:05:21.065" v="262" actId="20577"/>
          <ac:spMkLst>
            <pc:docMk/>
            <pc:sldMk cId="0" sldId="347"/>
            <ac:spMk id="5" creationId="{59E85052-F845-427F-7B87-D0CD69CBA346}"/>
          </ac:spMkLst>
        </pc:spChg>
      </pc:sldChg>
      <pc:sldChg chg="del">
        <pc:chgData name="Jithin Mohan [UNext]" userId="385dd2b6-d5cf-4598-8587-f7835bad5e0b" providerId="ADAL" clId="{E895FC88-B9ED-48F8-9240-BBEAD452ABB4}" dt="2026-01-08T06:12:10.930" v="1103" actId="47"/>
        <pc:sldMkLst>
          <pc:docMk/>
          <pc:sldMk cId="699163387" sldId="1116"/>
        </pc:sldMkLst>
      </pc:sldChg>
      <pc:sldChg chg="del">
        <pc:chgData name="Jithin Mohan [UNext]" userId="385dd2b6-d5cf-4598-8587-f7835bad5e0b" providerId="ADAL" clId="{E895FC88-B9ED-48F8-9240-BBEAD452ABB4}" dt="2026-01-07T07:41:03.737" v="8" actId="47"/>
        <pc:sldMkLst>
          <pc:docMk/>
          <pc:sldMk cId="699900044" sldId="1168"/>
        </pc:sldMkLst>
      </pc:sldChg>
      <pc:sldChg chg="modSp del mod">
        <pc:chgData name="Jithin Mohan [UNext]" userId="385dd2b6-d5cf-4598-8587-f7835bad5e0b" providerId="ADAL" clId="{E895FC88-B9ED-48F8-9240-BBEAD452ABB4}" dt="2026-01-07T10:16:08.613" v="882" actId="47"/>
        <pc:sldMkLst>
          <pc:docMk/>
          <pc:sldMk cId="2131043727" sldId="1169"/>
        </pc:sldMkLst>
        <pc:spChg chg="mod">
          <ac:chgData name="Jithin Mohan [UNext]" userId="385dd2b6-d5cf-4598-8587-f7835bad5e0b" providerId="ADAL" clId="{E895FC88-B9ED-48F8-9240-BBEAD452ABB4}" dt="2026-01-07T10:14:37.686" v="869" actId="207"/>
          <ac:spMkLst>
            <pc:docMk/>
            <pc:sldMk cId="2131043727" sldId="1169"/>
            <ac:spMk id="3" creationId="{F3FF1311-DD92-45BA-B10F-C1A324C27B55}"/>
          </ac:spMkLst>
        </pc:spChg>
      </pc:sldChg>
      <pc:sldChg chg="del">
        <pc:chgData name="Jithin Mohan [UNext]" userId="385dd2b6-d5cf-4598-8587-f7835bad5e0b" providerId="ADAL" clId="{E895FC88-B9ED-48F8-9240-BBEAD452ABB4}" dt="2026-01-07T10:18:03.428" v="887" actId="47"/>
        <pc:sldMkLst>
          <pc:docMk/>
          <pc:sldMk cId="4002800513" sldId="1170"/>
        </pc:sldMkLst>
      </pc:sldChg>
      <pc:sldChg chg="modSp mod">
        <pc:chgData name="Jithin Mohan [UNext]" userId="385dd2b6-d5cf-4598-8587-f7835bad5e0b" providerId="ADAL" clId="{E895FC88-B9ED-48F8-9240-BBEAD452ABB4}" dt="2026-01-07T10:18:13.093" v="889" actId="1076"/>
        <pc:sldMkLst>
          <pc:docMk/>
          <pc:sldMk cId="3725294492" sldId="1171"/>
        </pc:sldMkLst>
        <pc:spChg chg="mod">
          <ac:chgData name="Jithin Mohan [UNext]" userId="385dd2b6-d5cf-4598-8587-f7835bad5e0b" providerId="ADAL" clId="{E895FC88-B9ED-48F8-9240-BBEAD452ABB4}" dt="2026-01-07T10:18:09.808" v="888" actId="1076"/>
          <ac:spMkLst>
            <pc:docMk/>
            <pc:sldMk cId="3725294492" sldId="1171"/>
            <ac:spMk id="22" creationId="{75129F4F-F233-AC42-18B2-260EA9E872D4}"/>
          </ac:spMkLst>
        </pc:spChg>
        <pc:spChg chg="mod">
          <ac:chgData name="Jithin Mohan [UNext]" userId="385dd2b6-d5cf-4598-8587-f7835bad5e0b" providerId="ADAL" clId="{E895FC88-B9ED-48F8-9240-BBEAD452ABB4}" dt="2026-01-07T10:18:13.093" v="889" actId="1076"/>
          <ac:spMkLst>
            <pc:docMk/>
            <pc:sldMk cId="3725294492" sldId="1171"/>
            <ac:spMk id="24" creationId="{24F665D6-1B21-A45A-3E37-247B5E7909A3}"/>
          </ac:spMkLst>
        </pc:spChg>
      </pc:sldChg>
      <pc:sldChg chg="modSp mod">
        <pc:chgData name="Jithin Mohan [UNext]" userId="385dd2b6-d5cf-4598-8587-f7835bad5e0b" providerId="ADAL" clId="{E895FC88-B9ED-48F8-9240-BBEAD452ABB4}" dt="2026-01-07T10:20:39.565" v="907" actId="1076"/>
        <pc:sldMkLst>
          <pc:docMk/>
          <pc:sldMk cId="633595200" sldId="1172"/>
        </pc:sldMkLst>
        <pc:graphicFrameChg chg="mod modGraphic">
          <ac:chgData name="Jithin Mohan [UNext]" userId="385dd2b6-d5cf-4598-8587-f7835bad5e0b" providerId="ADAL" clId="{E895FC88-B9ED-48F8-9240-BBEAD452ABB4}" dt="2026-01-07T10:20:39.565" v="907" actId="1076"/>
          <ac:graphicFrameMkLst>
            <pc:docMk/>
            <pc:sldMk cId="633595200" sldId="1172"/>
            <ac:graphicFrameMk id="4" creationId="{1EDABD5C-56CA-3CA2-ECDB-019A7496FF6F}"/>
          </ac:graphicFrameMkLst>
        </pc:graphicFrameChg>
      </pc:sldChg>
      <pc:sldChg chg="modSp mod">
        <pc:chgData name="Jithin Mohan [UNext]" userId="385dd2b6-d5cf-4598-8587-f7835bad5e0b" providerId="ADAL" clId="{E895FC88-B9ED-48F8-9240-BBEAD452ABB4}" dt="2026-01-07T10:21:16.696" v="912" actId="1076"/>
        <pc:sldMkLst>
          <pc:docMk/>
          <pc:sldMk cId="1315585721" sldId="1173"/>
        </pc:sldMkLst>
        <pc:graphicFrameChg chg="mod modGraphic">
          <ac:chgData name="Jithin Mohan [UNext]" userId="385dd2b6-d5cf-4598-8587-f7835bad5e0b" providerId="ADAL" clId="{E895FC88-B9ED-48F8-9240-BBEAD452ABB4}" dt="2026-01-07T10:21:16.696" v="912" actId="1076"/>
          <ac:graphicFrameMkLst>
            <pc:docMk/>
            <pc:sldMk cId="1315585721" sldId="1173"/>
            <ac:graphicFrameMk id="4" creationId="{1D774DF9-7F98-EA13-2883-C7B9094E8D79}"/>
          </ac:graphicFrameMkLst>
        </pc:graphicFrameChg>
      </pc:sldChg>
      <pc:sldChg chg="del">
        <pc:chgData name="Jithin Mohan [UNext]" userId="385dd2b6-d5cf-4598-8587-f7835bad5e0b" providerId="ADAL" clId="{E895FC88-B9ED-48F8-9240-BBEAD452ABB4}" dt="2026-01-08T05:54:52.129" v="920" actId="47"/>
        <pc:sldMkLst>
          <pc:docMk/>
          <pc:sldMk cId="2961384905" sldId="1174"/>
        </pc:sldMkLst>
      </pc:sldChg>
      <pc:sldChg chg="del">
        <pc:chgData name="Jithin Mohan [UNext]" userId="385dd2b6-d5cf-4598-8587-f7835bad5e0b" providerId="ADAL" clId="{E895FC88-B9ED-48F8-9240-BBEAD452ABB4}" dt="2026-01-08T05:56:24.960" v="936" actId="47"/>
        <pc:sldMkLst>
          <pc:docMk/>
          <pc:sldMk cId="3700587590" sldId="1175"/>
        </pc:sldMkLst>
      </pc:sldChg>
      <pc:sldChg chg="del">
        <pc:chgData name="Jithin Mohan [UNext]" userId="385dd2b6-d5cf-4598-8587-f7835bad5e0b" providerId="ADAL" clId="{E895FC88-B9ED-48F8-9240-BBEAD452ABB4}" dt="2026-01-08T05:57:56.750" v="952" actId="47"/>
        <pc:sldMkLst>
          <pc:docMk/>
          <pc:sldMk cId="3429802008" sldId="1176"/>
        </pc:sldMkLst>
      </pc:sldChg>
      <pc:sldChg chg="modSp mod">
        <pc:chgData name="Jithin Mohan [UNext]" userId="385dd2b6-d5cf-4598-8587-f7835bad5e0b" providerId="ADAL" clId="{E895FC88-B9ED-48F8-9240-BBEAD452ABB4}" dt="2026-01-08T05:58:16.319" v="965" actId="14100"/>
        <pc:sldMkLst>
          <pc:docMk/>
          <pc:sldMk cId="1920287942" sldId="1177"/>
        </pc:sldMkLst>
        <pc:spChg chg="mod">
          <ac:chgData name="Jithin Mohan [UNext]" userId="385dd2b6-d5cf-4598-8587-f7835bad5e0b" providerId="ADAL" clId="{E895FC88-B9ED-48F8-9240-BBEAD452ABB4}" dt="2026-01-08T05:58:13.033" v="964" actId="14100"/>
          <ac:spMkLst>
            <pc:docMk/>
            <pc:sldMk cId="1920287942" sldId="1177"/>
            <ac:spMk id="22" creationId="{96DA89C0-C302-5FB2-C0D8-AE801BFB3DB7}"/>
          </ac:spMkLst>
        </pc:spChg>
        <pc:spChg chg="mod">
          <ac:chgData name="Jithin Mohan [UNext]" userId="385dd2b6-d5cf-4598-8587-f7835bad5e0b" providerId="ADAL" clId="{E895FC88-B9ED-48F8-9240-BBEAD452ABB4}" dt="2026-01-08T05:58:16.319" v="965" actId="14100"/>
          <ac:spMkLst>
            <pc:docMk/>
            <pc:sldMk cId="1920287942" sldId="1177"/>
            <ac:spMk id="35" creationId="{E2B06B84-49D2-2E4A-AD6A-D7641868000B}"/>
          </ac:spMkLst>
        </pc:spChg>
      </pc:sldChg>
      <pc:sldChg chg="addSp modSp mod">
        <pc:chgData name="Jithin Mohan [UNext]" userId="385dd2b6-d5cf-4598-8587-f7835bad5e0b" providerId="ADAL" clId="{E895FC88-B9ED-48F8-9240-BBEAD452ABB4}" dt="2026-01-08T05:59:23.029" v="975" actId="1076"/>
        <pc:sldMkLst>
          <pc:docMk/>
          <pc:sldMk cId="3694784101" sldId="1178"/>
        </pc:sldMkLst>
        <pc:spChg chg="mod">
          <ac:chgData name="Jithin Mohan [UNext]" userId="385dd2b6-d5cf-4598-8587-f7835bad5e0b" providerId="ADAL" clId="{E895FC88-B9ED-48F8-9240-BBEAD452ABB4}" dt="2026-01-08T05:59:20.285" v="974" actId="164"/>
          <ac:spMkLst>
            <pc:docMk/>
            <pc:sldMk cId="3694784101" sldId="1178"/>
            <ac:spMk id="2" creationId="{849A120A-6D23-8CFC-F931-2F530E30DF72}"/>
          </ac:spMkLst>
        </pc:spChg>
        <pc:spChg chg="mod">
          <ac:chgData name="Jithin Mohan [UNext]" userId="385dd2b6-d5cf-4598-8587-f7835bad5e0b" providerId="ADAL" clId="{E895FC88-B9ED-48F8-9240-BBEAD452ABB4}" dt="2026-01-08T05:59:20.285" v="974" actId="164"/>
          <ac:spMkLst>
            <pc:docMk/>
            <pc:sldMk cId="3694784101" sldId="1178"/>
            <ac:spMk id="4" creationId="{80E62C54-E291-96D6-BD69-A8FC46C76224}"/>
          </ac:spMkLst>
        </pc:spChg>
        <pc:spChg chg="mod">
          <ac:chgData name="Jithin Mohan [UNext]" userId="385dd2b6-d5cf-4598-8587-f7835bad5e0b" providerId="ADAL" clId="{E895FC88-B9ED-48F8-9240-BBEAD452ABB4}" dt="2026-01-08T05:59:20.285" v="974" actId="164"/>
          <ac:spMkLst>
            <pc:docMk/>
            <pc:sldMk cId="3694784101" sldId="1178"/>
            <ac:spMk id="6" creationId="{5134A13C-22EC-C31C-BA4F-5E66B4B7135A}"/>
          </ac:spMkLst>
        </pc:spChg>
        <pc:grpChg chg="mod">
          <ac:chgData name="Jithin Mohan [UNext]" userId="385dd2b6-d5cf-4598-8587-f7835bad5e0b" providerId="ADAL" clId="{E895FC88-B9ED-48F8-9240-BBEAD452ABB4}" dt="2026-01-08T05:59:20.285" v="974" actId="164"/>
          <ac:grpSpMkLst>
            <pc:docMk/>
            <pc:sldMk cId="3694784101" sldId="1178"/>
            <ac:grpSpMk id="3" creationId="{A4AC6931-6EC2-31D1-E8A7-7FBF71B1CBD5}"/>
          </ac:grpSpMkLst>
        </pc:grpChg>
        <pc:grpChg chg="mod">
          <ac:chgData name="Jithin Mohan [UNext]" userId="385dd2b6-d5cf-4598-8587-f7835bad5e0b" providerId="ADAL" clId="{E895FC88-B9ED-48F8-9240-BBEAD452ABB4}" dt="2026-01-08T05:59:20.285" v="974" actId="164"/>
          <ac:grpSpMkLst>
            <pc:docMk/>
            <pc:sldMk cId="3694784101" sldId="1178"/>
            <ac:grpSpMk id="5" creationId="{CF586B19-4FF9-535A-DD5F-24E3877C0F62}"/>
          </ac:grpSpMkLst>
        </pc:grpChg>
        <pc:grpChg chg="mod">
          <ac:chgData name="Jithin Mohan [UNext]" userId="385dd2b6-d5cf-4598-8587-f7835bad5e0b" providerId="ADAL" clId="{E895FC88-B9ED-48F8-9240-BBEAD452ABB4}" dt="2026-01-08T05:59:20.285" v="974" actId="164"/>
          <ac:grpSpMkLst>
            <pc:docMk/>
            <pc:sldMk cId="3694784101" sldId="1178"/>
            <ac:grpSpMk id="7" creationId="{AC7F1DD9-7655-5626-686E-42F0E84F7E3C}"/>
          </ac:grpSpMkLst>
        </pc:grpChg>
        <pc:grpChg chg="add mod">
          <ac:chgData name="Jithin Mohan [UNext]" userId="385dd2b6-d5cf-4598-8587-f7835bad5e0b" providerId="ADAL" clId="{E895FC88-B9ED-48F8-9240-BBEAD452ABB4}" dt="2026-01-08T05:59:23.029" v="975" actId="1076"/>
          <ac:grpSpMkLst>
            <pc:docMk/>
            <pc:sldMk cId="3694784101" sldId="1178"/>
            <ac:grpSpMk id="14" creationId="{AEE63891-4CD0-09D1-E877-A5F2D0E5A664}"/>
          </ac:grpSpMkLst>
        </pc:grpChg>
      </pc:sldChg>
      <pc:sldChg chg="modSp mod">
        <pc:chgData name="Jithin Mohan [UNext]" userId="385dd2b6-d5cf-4598-8587-f7835bad5e0b" providerId="ADAL" clId="{E895FC88-B9ED-48F8-9240-BBEAD452ABB4}" dt="2026-01-08T05:59:33.821" v="986" actId="1036"/>
        <pc:sldMkLst>
          <pc:docMk/>
          <pc:sldMk cId="462703050" sldId="1179"/>
        </pc:sldMkLst>
        <pc:spChg chg="mod">
          <ac:chgData name="Jithin Mohan [UNext]" userId="385dd2b6-d5cf-4598-8587-f7835bad5e0b" providerId="ADAL" clId="{E895FC88-B9ED-48F8-9240-BBEAD452ABB4}" dt="2026-01-08T05:59:33.821" v="986" actId="1036"/>
          <ac:spMkLst>
            <pc:docMk/>
            <pc:sldMk cId="462703050" sldId="1179"/>
            <ac:spMk id="2" creationId="{6DC26D12-103D-C050-2E78-D9A3799ED2A4}"/>
          </ac:spMkLst>
        </pc:spChg>
        <pc:spChg chg="mod">
          <ac:chgData name="Jithin Mohan [UNext]" userId="385dd2b6-d5cf-4598-8587-f7835bad5e0b" providerId="ADAL" clId="{E895FC88-B9ED-48F8-9240-BBEAD452ABB4}" dt="2026-01-08T05:59:33.821" v="986" actId="1036"/>
          <ac:spMkLst>
            <pc:docMk/>
            <pc:sldMk cId="462703050" sldId="1179"/>
            <ac:spMk id="4" creationId="{FE66E6B6-CE5E-818E-87AF-6619DDEDDD5D}"/>
          </ac:spMkLst>
        </pc:spChg>
        <pc:spChg chg="mod">
          <ac:chgData name="Jithin Mohan [UNext]" userId="385dd2b6-d5cf-4598-8587-f7835bad5e0b" providerId="ADAL" clId="{E895FC88-B9ED-48F8-9240-BBEAD452ABB4}" dt="2026-01-08T05:59:33.821" v="986" actId="1036"/>
          <ac:spMkLst>
            <pc:docMk/>
            <pc:sldMk cId="462703050" sldId="1179"/>
            <ac:spMk id="6" creationId="{41253879-6CDD-A039-EE1C-1B99AC430A8C}"/>
          </ac:spMkLst>
        </pc:spChg>
        <pc:grpChg chg="mod">
          <ac:chgData name="Jithin Mohan [UNext]" userId="385dd2b6-d5cf-4598-8587-f7835bad5e0b" providerId="ADAL" clId="{E895FC88-B9ED-48F8-9240-BBEAD452ABB4}" dt="2026-01-08T05:59:33.821" v="986" actId="1036"/>
          <ac:grpSpMkLst>
            <pc:docMk/>
            <pc:sldMk cId="462703050" sldId="1179"/>
            <ac:grpSpMk id="3" creationId="{5DBAA90A-2F22-21B3-D5D9-7459F965E4B3}"/>
          </ac:grpSpMkLst>
        </pc:grpChg>
        <pc:grpChg chg="mod">
          <ac:chgData name="Jithin Mohan [UNext]" userId="385dd2b6-d5cf-4598-8587-f7835bad5e0b" providerId="ADAL" clId="{E895FC88-B9ED-48F8-9240-BBEAD452ABB4}" dt="2026-01-08T05:59:33.821" v="986" actId="1036"/>
          <ac:grpSpMkLst>
            <pc:docMk/>
            <pc:sldMk cId="462703050" sldId="1179"/>
            <ac:grpSpMk id="5" creationId="{33700A6A-9122-F2AE-D8E0-1F6213BD1D09}"/>
          </ac:grpSpMkLst>
        </pc:grpChg>
        <pc:grpChg chg="mod">
          <ac:chgData name="Jithin Mohan [UNext]" userId="385dd2b6-d5cf-4598-8587-f7835bad5e0b" providerId="ADAL" clId="{E895FC88-B9ED-48F8-9240-BBEAD452ABB4}" dt="2026-01-08T05:59:33.821" v="986" actId="1036"/>
          <ac:grpSpMkLst>
            <pc:docMk/>
            <pc:sldMk cId="462703050" sldId="1179"/>
            <ac:grpSpMk id="7" creationId="{5E4DCF02-0542-8AC4-EC93-C4D6D765C6A5}"/>
          </ac:grpSpMkLst>
        </pc:grpChg>
      </pc:sldChg>
      <pc:sldChg chg="modSp mod">
        <pc:chgData name="Jithin Mohan [UNext]" userId="385dd2b6-d5cf-4598-8587-f7835bad5e0b" providerId="ADAL" clId="{E895FC88-B9ED-48F8-9240-BBEAD452ABB4}" dt="2026-01-08T05:59:41.178" v="995" actId="1036"/>
        <pc:sldMkLst>
          <pc:docMk/>
          <pc:sldMk cId="2138783365" sldId="1180"/>
        </pc:sldMkLst>
        <pc:spChg chg="mod">
          <ac:chgData name="Jithin Mohan [UNext]" userId="385dd2b6-d5cf-4598-8587-f7835bad5e0b" providerId="ADAL" clId="{E895FC88-B9ED-48F8-9240-BBEAD452ABB4}" dt="2026-01-08T05:59:41.178" v="995" actId="1036"/>
          <ac:spMkLst>
            <pc:docMk/>
            <pc:sldMk cId="2138783365" sldId="1180"/>
            <ac:spMk id="2" creationId="{E755BA7D-197C-E658-B263-37E1D1FA5893}"/>
          </ac:spMkLst>
        </pc:spChg>
        <pc:spChg chg="mod">
          <ac:chgData name="Jithin Mohan [UNext]" userId="385dd2b6-d5cf-4598-8587-f7835bad5e0b" providerId="ADAL" clId="{E895FC88-B9ED-48F8-9240-BBEAD452ABB4}" dt="2026-01-08T05:59:41.178" v="995" actId="1036"/>
          <ac:spMkLst>
            <pc:docMk/>
            <pc:sldMk cId="2138783365" sldId="1180"/>
            <ac:spMk id="4" creationId="{884908D0-526B-63E3-8A4D-54979DD24FEE}"/>
          </ac:spMkLst>
        </pc:spChg>
        <pc:spChg chg="mod">
          <ac:chgData name="Jithin Mohan [UNext]" userId="385dd2b6-d5cf-4598-8587-f7835bad5e0b" providerId="ADAL" clId="{E895FC88-B9ED-48F8-9240-BBEAD452ABB4}" dt="2026-01-08T05:59:41.178" v="995" actId="1036"/>
          <ac:spMkLst>
            <pc:docMk/>
            <pc:sldMk cId="2138783365" sldId="1180"/>
            <ac:spMk id="6" creationId="{A00F4D9B-5359-A974-7001-4E140DBE32FA}"/>
          </ac:spMkLst>
        </pc:spChg>
        <pc:grpChg chg="mod">
          <ac:chgData name="Jithin Mohan [UNext]" userId="385dd2b6-d5cf-4598-8587-f7835bad5e0b" providerId="ADAL" clId="{E895FC88-B9ED-48F8-9240-BBEAD452ABB4}" dt="2026-01-08T05:59:41.178" v="995" actId="1036"/>
          <ac:grpSpMkLst>
            <pc:docMk/>
            <pc:sldMk cId="2138783365" sldId="1180"/>
            <ac:grpSpMk id="3" creationId="{E47ED5BC-95CC-FD47-D7A1-9DFF150BC861}"/>
          </ac:grpSpMkLst>
        </pc:grpChg>
        <pc:grpChg chg="mod">
          <ac:chgData name="Jithin Mohan [UNext]" userId="385dd2b6-d5cf-4598-8587-f7835bad5e0b" providerId="ADAL" clId="{E895FC88-B9ED-48F8-9240-BBEAD452ABB4}" dt="2026-01-08T05:59:41.178" v="995" actId="1036"/>
          <ac:grpSpMkLst>
            <pc:docMk/>
            <pc:sldMk cId="2138783365" sldId="1180"/>
            <ac:grpSpMk id="5" creationId="{84193DBC-1B90-257D-A19E-7DAD31DFF161}"/>
          </ac:grpSpMkLst>
        </pc:grpChg>
        <pc:grpChg chg="mod">
          <ac:chgData name="Jithin Mohan [UNext]" userId="385dd2b6-d5cf-4598-8587-f7835bad5e0b" providerId="ADAL" clId="{E895FC88-B9ED-48F8-9240-BBEAD452ABB4}" dt="2026-01-08T05:59:41.178" v="995" actId="1036"/>
          <ac:grpSpMkLst>
            <pc:docMk/>
            <pc:sldMk cId="2138783365" sldId="1180"/>
            <ac:grpSpMk id="7" creationId="{7911EABA-4C36-66A9-358A-AA5CD4228463}"/>
          </ac:grpSpMkLst>
        </pc:grpChg>
      </pc:sldChg>
      <pc:sldChg chg="del">
        <pc:chgData name="Jithin Mohan [UNext]" userId="385dd2b6-d5cf-4598-8587-f7835bad5e0b" providerId="ADAL" clId="{E895FC88-B9ED-48F8-9240-BBEAD452ABB4}" dt="2026-01-08T06:00:17.630" v="1003" actId="47"/>
        <pc:sldMkLst>
          <pc:docMk/>
          <pc:sldMk cId="3722898932" sldId="1181"/>
        </pc:sldMkLst>
      </pc:sldChg>
      <pc:sldChg chg="add del">
        <pc:chgData name="Jithin Mohan [UNext]" userId="385dd2b6-d5cf-4598-8587-f7835bad5e0b" providerId="ADAL" clId="{E895FC88-B9ED-48F8-9240-BBEAD452ABB4}" dt="2026-01-08T06:10:11.006" v="1073" actId="47"/>
        <pc:sldMkLst>
          <pc:docMk/>
          <pc:sldMk cId="1560818043" sldId="1183"/>
        </pc:sldMkLst>
      </pc:sldChg>
      <pc:sldChg chg="del">
        <pc:chgData name="Jithin Mohan [UNext]" userId="385dd2b6-d5cf-4598-8587-f7835bad5e0b" providerId="ADAL" clId="{E895FC88-B9ED-48F8-9240-BBEAD452ABB4}" dt="2026-01-08T06:11:00.573" v="1088" actId="47"/>
        <pc:sldMkLst>
          <pc:docMk/>
          <pc:sldMk cId="93282165" sldId="1184"/>
        </pc:sldMkLst>
      </pc:sldChg>
      <pc:sldChg chg="del">
        <pc:chgData name="Jithin Mohan [UNext]" userId="385dd2b6-d5cf-4598-8587-f7835bad5e0b" providerId="ADAL" clId="{E895FC88-B9ED-48F8-9240-BBEAD452ABB4}" dt="2026-01-08T06:20:05.860" v="1190" actId="47"/>
        <pc:sldMkLst>
          <pc:docMk/>
          <pc:sldMk cId="720336166" sldId="1185"/>
        </pc:sldMkLst>
      </pc:sldChg>
      <pc:sldChg chg="del">
        <pc:chgData name="Jithin Mohan [UNext]" userId="385dd2b6-d5cf-4598-8587-f7835bad5e0b" providerId="ADAL" clId="{E895FC88-B9ED-48F8-9240-BBEAD452ABB4}" dt="2026-01-08T06:20:51.477" v="1197" actId="47"/>
        <pc:sldMkLst>
          <pc:docMk/>
          <pc:sldMk cId="214037314" sldId="1186"/>
        </pc:sldMkLst>
      </pc:sldChg>
      <pc:sldChg chg="modSp mod">
        <pc:chgData name="Jithin Mohan [UNext]" userId="385dd2b6-d5cf-4598-8587-f7835bad5e0b" providerId="ADAL" clId="{E895FC88-B9ED-48F8-9240-BBEAD452ABB4}" dt="2026-01-08T06:21:08.333" v="1199" actId="1076"/>
        <pc:sldMkLst>
          <pc:docMk/>
          <pc:sldMk cId="2435959323" sldId="1187"/>
        </pc:sldMkLst>
        <pc:picChg chg="mod">
          <ac:chgData name="Jithin Mohan [UNext]" userId="385dd2b6-d5cf-4598-8587-f7835bad5e0b" providerId="ADAL" clId="{E895FC88-B9ED-48F8-9240-BBEAD452ABB4}" dt="2026-01-08T06:21:01.618" v="1198" actId="1076"/>
          <ac:picMkLst>
            <pc:docMk/>
            <pc:sldMk cId="2435959323" sldId="1187"/>
            <ac:picMk id="3" creationId="{9DD37C49-14D1-BD3A-CB55-7F82194C5782}"/>
          </ac:picMkLst>
        </pc:picChg>
        <pc:picChg chg="mod">
          <ac:chgData name="Jithin Mohan [UNext]" userId="385dd2b6-d5cf-4598-8587-f7835bad5e0b" providerId="ADAL" clId="{E895FC88-B9ED-48F8-9240-BBEAD452ABB4}" dt="2026-01-08T06:21:08.333" v="1199" actId="1076"/>
          <ac:picMkLst>
            <pc:docMk/>
            <pc:sldMk cId="2435959323" sldId="1187"/>
            <ac:picMk id="5" creationId="{AE868D2A-B45B-9861-71D8-44A768424BA5}"/>
          </ac:picMkLst>
        </pc:picChg>
      </pc:sldChg>
      <pc:sldChg chg="modSp del mod">
        <pc:chgData name="Jithin Mohan [UNext]" userId="385dd2b6-d5cf-4598-8587-f7835bad5e0b" providerId="ADAL" clId="{E895FC88-B9ED-48F8-9240-BBEAD452ABB4}" dt="2026-01-08T12:01:12.790" v="1487" actId="47"/>
        <pc:sldMkLst>
          <pc:docMk/>
          <pc:sldMk cId="2201529898" sldId="1188"/>
        </pc:sldMkLst>
        <pc:spChg chg="mod">
          <ac:chgData name="Jithin Mohan [UNext]" userId="385dd2b6-d5cf-4598-8587-f7835bad5e0b" providerId="ADAL" clId="{E895FC88-B9ED-48F8-9240-BBEAD452ABB4}" dt="2026-01-07T07:40:29.430" v="5" actId="27636"/>
          <ac:spMkLst>
            <pc:docMk/>
            <pc:sldMk cId="2201529898" sldId="1188"/>
            <ac:spMk id="3" creationId="{752C5EEB-5BBD-C7C6-E1A1-122079D27E44}"/>
          </ac:spMkLst>
        </pc:spChg>
      </pc:sldChg>
      <pc:sldChg chg="del">
        <pc:chgData name="Jithin Mohan [UNext]" userId="385dd2b6-d5cf-4598-8587-f7835bad5e0b" providerId="ADAL" clId="{E895FC88-B9ED-48F8-9240-BBEAD452ABB4}" dt="2026-01-07T07:42:04.834" v="15" actId="47"/>
        <pc:sldMkLst>
          <pc:docMk/>
          <pc:sldMk cId="1980296533" sldId="1189"/>
        </pc:sldMkLst>
      </pc:sldChg>
      <pc:sldChg chg="modSp add mod">
        <pc:chgData name="Jithin Mohan [UNext]" userId="385dd2b6-d5cf-4598-8587-f7835bad5e0b" providerId="ADAL" clId="{E895FC88-B9ED-48F8-9240-BBEAD452ABB4}" dt="2026-01-08T06:37:18.353" v="1229" actId="20577"/>
        <pc:sldMkLst>
          <pc:docMk/>
          <pc:sldMk cId="0" sldId="1190"/>
        </pc:sldMkLst>
        <pc:spChg chg="mod">
          <ac:chgData name="Jithin Mohan [UNext]" userId="385dd2b6-d5cf-4598-8587-f7835bad5e0b" providerId="ADAL" clId="{E895FC88-B9ED-48F8-9240-BBEAD452ABB4}" dt="2026-01-08T06:37:18.353" v="1229" actId="20577"/>
          <ac:spMkLst>
            <pc:docMk/>
            <pc:sldMk cId="0" sldId="1190"/>
            <ac:spMk id="12" creationId="{593770D6-C5FD-4175-3D01-AE2B6816B0F4}"/>
          </ac:spMkLst>
        </pc:spChg>
      </pc:sldChg>
      <pc:sldChg chg="add">
        <pc:chgData name="Jithin Mohan [UNext]" userId="385dd2b6-d5cf-4598-8587-f7835bad5e0b" providerId="ADAL" clId="{E895FC88-B9ED-48F8-9240-BBEAD452ABB4}" dt="2026-01-07T07:41:58.007" v="14"/>
        <pc:sldMkLst>
          <pc:docMk/>
          <pc:sldMk cId="0" sldId="2147375703"/>
        </pc:sldMkLst>
      </pc:sldChg>
      <pc:sldChg chg="add">
        <pc:chgData name="Jithin Mohan [UNext]" userId="385dd2b6-d5cf-4598-8587-f7835bad5e0b" providerId="ADAL" clId="{E895FC88-B9ED-48F8-9240-BBEAD452ABB4}" dt="2026-01-07T07:40:59.763" v="7"/>
        <pc:sldMkLst>
          <pc:docMk/>
          <pc:sldMk cId="1893079836" sldId="2147375931"/>
        </pc:sldMkLst>
      </pc:sldChg>
      <pc:sldChg chg="add">
        <pc:chgData name="Jithin Mohan [UNext]" userId="385dd2b6-d5cf-4598-8587-f7835bad5e0b" providerId="ADAL" clId="{E895FC88-B9ED-48F8-9240-BBEAD452ABB4}" dt="2026-01-07T07:40:59.763" v="7"/>
        <pc:sldMkLst>
          <pc:docMk/>
          <pc:sldMk cId="4038836555" sldId="2147375933"/>
        </pc:sldMkLst>
      </pc:sldChg>
      <pc:sldChg chg="add modNotesTx">
        <pc:chgData name="Jithin Mohan [UNext]" userId="385dd2b6-d5cf-4598-8587-f7835bad5e0b" providerId="ADAL" clId="{E895FC88-B9ED-48F8-9240-BBEAD452ABB4}" dt="2026-01-07T07:54:22.233" v="64"/>
        <pc:sldMkLst>
          <pc:docMk/>
          <pc:sldMk cId="3178803175" sldId="2147375934"/>
        </pc:sldMkLst>
      </pc:sldChg>
      <pc:sldChg chg="add del">
        <pc:chgData name="Jithin Mohan [UNext]" userId="385dd2b6-d5cf-4598-8587-f7835bad5e0b" providerId="ADAL" clId="{E895FC88-B9ED-48F8-9240-BBEAD452ABB4}" dt="2026-01-08T05:53:22.592" v="913" actId="47"/>
        <pc:sldMkLst>
          <pc:docMk/>
          <pc:sldMk cId="698063165" sldId="2147375935"/>
        </pc:sldMkLst>
      </pc:sldChg>
      <pc:sldChg chg="add modNotesTx">
        <pc:chgData name="Jithin Mohan [UNext]" userId="385dd2b6-d5cf-4598-8587-f7835bad5e0b" providerId="ADAL" clId="{E895FC88-B9ED-48F8-9240-BBEAD452ABB4}" dt="2026-01-07T07:54:37.510" v="65"/>
        <pc:sldMkLst>
          <pc:docMk/>
          <pc:sldMk cId="4149866282" sldId="2147375936"/>
        </pc:sldMkLst>
      </pc:sldChg>
      <pc:sldChg chg="addSp delSp modSp add mod">
        <pc:chgData name="Jithin Mohan [UNext]" userId="385dd2b6-d5cf-4598-8587-f7835bad5e0b" providerId="ADAL" clId="{E895FC88-B9ED-48F8-9240-BBEAD452ABB4}" dt="2026-01-07T07:49:12.331" v="30" actId="1076"/>
        <pc:sldMkLst>
          <pc:docMk/>
          <pc:sldMk cId="1555167840" sldId="2147375937"/>
        </pc:sldMkLst>
        <pc:spChg chg="mod">
          <ac:chgData name="Jithin Mohan [UNext]" userId="385dd2b6-d5cf-4598-8587-f7835bad5e0b" providerId="ADAL" clId="{E895FC88-B9ED-48F8-9240-BBEAD452ABB4}" dt="2026-01-07T07:49:05.647" v="29" actId="1076"/>
          <ac:spMkLst>
            <pc:docMk/>
            <pc:sldMk cId="1555167840" sldId="2147375937"/>
            <ac:spMk id="2" creationId="{E51E1714-CAC4-C1BB-8F1F-B1155406404F}"/>
          </ac:spMkLst>
        </pc:spChg>
        <pc:spChg chg="add mod">
          <ac:chgData name="Jithin Mohan [UNext]" userId="385dd2b6-d5cf-4598-8587-f7835bad5e0b" providerId="ADAL" clId="{E895FC88-B9ED-48F8-9240-BBEAD452ABB4}" dt="2026-01-07T07:49:12.331" v="30" actId="1076"/>
          <ac:spMkLst>
            <pc:docMk/>
            <pc:sldMk cId="1555167840" sldId="2147375937"/>
            <ac:spMk id="3" creationId="{5DB7F379-40E8-B97B-99B7-F58A57448E00}"/>
          </ac:spMkLst>
        </pc:spChg>
        <pc:spChg chg="mod">
          <ac:chgData name="Jithin Mohan [UNext]" userId="385dd2b6-d5cf-4598-8587-f7835bad5e0b" providerId="ADAL" clId="{E895FC88-B9ED-48F8-9240-BBEAD452ABB4}" dt="2026-01-07T07:48:35.829" v="19" actId="20577"/>
          <ac:spMkLst>
            <pc:docMk/>
            <pc:sldMk cId="1555167840" sldId="2147375937"/>
            <ac:spMk id="4" creationId="{3E7F068C-7331-4C29-982C-3427FBB32AA9}"/>
          </ac:spMkLst>
        </pc:spChg>
        <pc:picChg chg="del">
          <ac:chgData name="Jithin Mohan [UNext]" userId="385dd2b6-d5cf-4598-8587-f7835bad5e0b" providerId="ADAL" clId="{E895FC88-B9ED-48F8-9240-BBEAD452ABB4}" dt="2026-01-07T07:48:25.505" v="17" actId="478"/>
          <ac:picMkLst>
            <pc:docMk/>
            <pc:sldMk cId="1555167840" sldId="2147375937"/>
            <ac:picMk id="6" creationId="{2279662D-CE9A-4FD4-0F6B-E6BC22B70DC4}"/>
          </ac:picMkLst>
        </pc:picChg>
      </pc:sldChg>
      <pc:sldChg chg="addSp modSp add mod">
        <pc:chgData name="Jithin Mohan [UNext]" userId="385dd2b6-d5cf-4598-8587-f7835bad5e0b" providerId="ADAL" clId="{E895FC88-B9ED-48F8-9240-BBEAD452ABB4}" dt="2026-01-07T07:51:25.223" v="47" actId="1076"/>
        <pc:sldMkLst>
          <pc:docMk/>
          <pc:sldMk cId="933352663" sldId="2147375938"/>
        </pc:sldMkLst>
        <pc:spChg chg="mod">
          <ac:chgData name="Jithin Mohan [UNext]" userId="385dd2b6-d5cf-4598-8587-f7835bad5e0b" providerId="ADAL" clId="{E895FC88-B9ED-48F8-9240-BBEAD452ABB4}" dt="2026-01-07T07:51:04.147" v="43" actId="1076"/>
          <ac:spMkLst>
            <pc:docMk/>
            <pc:sldMk cId="933352663" sldId="2147375938"/>
            <ac:spMk id="2" creationId="{E51E1714-CAC4-C1BB-8F1F-B1155406404F}"/>
          </ac:spMkLst>
        </pc:spChg>
        <pc:spChg chg="mod">
          <ac:chgData name="Jithin Mohan [UNext]" userId="385dd2b6-d5cf-4598-8587-f7835bad5e0b" providerId="ADAL" clId="{E895FC88-B9ED-48F8-9240-BBEAD452ABB4}" dt="2026-01-07T07:50:58.588" v="41" actId="14100"/>
          <ac:spMkLst>
            <pc:docMk/>
            <pc:sldMk cId="933352663" sldId="2147375938"/>
            <ac:spMk id="3" creationId="{5DB7F379-40E8-B97B-99B7-F58A57448E00}"/>
          </ac:spMkLst>
        </pc:spChg>
        <pc:spChg chg="mod">
          <ac:chgData name="Jithin Mohan [UNext]" userId="385dd2b6-d5cf-4598-8587-f7835bad5e0b" providerId="ADAL" clId="{E895FC88-B9ED-48F8-9240-BBEAD452ABB4}" dt="2026-01-07T07:50:15.960" v="33"/>
          <ac:spMkLst>
            <pc:docMk/>
            <pc:sldMk cId="933352663" sldId="2147375938"/>
            <ac:spMk id="4" creationId="{3E7F068C-7331-4C29-982C-3427FBB32AA9}"/>
          </ac:spMkLst>
        </pc:spChg>
        <pc:picChg chg="add mod">
          <ac:chgData name="Jithin Mohan [UNext]" userId="385dd2b6-d5cf-4598-8587-f7835bad5e0b" providerId="ADAL" clId="{E895FC88-B9ED-48F8-9240-BBEAD452ABB4}" dt="2026-01-07T07:51:25.223" v="47" actId="1076"/>
          <ac:picMkLst>
            <pc:docMk/>
            <pc:sldMk cId="933352663" sldId="2147375938"/>
            <ac:picMk id="5" creationId="{BA8C294B-80E5-C20C-7811-B2ED77312BFB}"/>
          </ac:picMkLst>
        </pc:picChg>
      </pc:sldChg>
      <pc:sldChg chg="addSp delSp modSp add mod">
        <pc:chgData name="Jithin Mohan [UNext]" userId="385dd2b6-d5cf-4598-8587-f7835bad5e0b" providerId="ADAL" clId="{E895FC88-B9ED-48F8-9240-BBEAD452ABB4}" dt="2026-01-07T07:52:10.679" v="63" actId="1035"/>
        <pc:sldMkLst>
          <pc:docMk/>
          <pc:sldMk cId="4099872630" sldId="2147375939"/>
        </pc:sldMkLst>
        <pc:spChg chg="del">
          <ac:chgData name="Jithin Mohan [UNext]" userId="385dd2b6-d5cf-4598-8587-f7835bad5e0b" providerId="ADAL" clId="{E895FC88-B9ED-48F8-9240-BBEAD452ABB4}" dt="2026-01-07T07:51:46.467" v="51" actId="478"/>
          <ac:spMkLst>
            <pc:docMk/>
            <pc:sldMk cId="4099872630" sldId="2147375939"/>
            <ac:spMk id="2" creationId="{E51E1714-CAC4-C1BB-8F1F-B1155406404F}"/>
          </ac:spMkLst>
        </pc:spChg>
        <pc:spChg chg="del">
          <ac:chgData name="Jithin Mohan [UNext]" userId="385dd2b6-d5cf-4598-8587-f7835bad5e0b" providerId="ADAL" clId="{E895FC88-B9ED-48F8-9240-BBEAD452ABB4}" dt="2026-01-07T07:51:46.467" v="51" actId="478"/>
          <ac:spMkLst>
            <pc:docMk/>
            <pc:sldMk cId="4099872630" sldId="2147375939"/>
            <ac:spMk id="3" creationId="{5DB7F379-40E8-B97B-99B7-F58A57448E00}"/>
          </ac:spMkLst>
        </pc:spChg>
        <pc:spChg chg="mod">
          <ac:chgData name="Jithin Mohan [UNext]" userId="385dd2b6-d5cf-4598-8587-f7835bad5e0b" providerId="ADAL" clId="{E895FC88-B9ED-48F8-9240-BBEAD452ABB4}" dt="2026-01-07T07:51:39.107" v="50"/>
          <ac:spMkLst>
            <pc:docMk/>
            <pc:sldMk cId="4099872630" sldId="2147375939"/>
            <ac:spMk id="4" creationId="{3E7F068C-7331-4C29-982C-3427FBB32AA9}"/>
          </ac:spMkLst>
        </pc:spChg>
        <pc:picChg chg="del">
          <ac:chgData name="Jithin Mohan [UNext]" userId="385dd2b6-d5cf-4598-8587-f7835bad5e0b" providerId="ADAL" clId="{E895FC88-B9ED-48F8-9240-BBEAD452ABB4}" dt="2026-01-07T07:51:46.467" v="51" actId="478"/>
          <ac:picMkLst>
            <pc:docMk/>
            <pc:sldMk cId="4099872630" sldId="2147375939"/>
            <ac:picMk id="5" creationId="{BA8C294B-80E5-C20C-7811-B2ED77312BFB}"/>
          </ac:picMkLst>
        </pc:picChg>
        <pc:picChg chg="add mod">
          <ac:chgData name="Jithin Mohan [UNext]" userId="385dd2b6-d5cf-4598-8587-f7835bad5e0b" providerId="ADAL" clId="{E895FC88-B9ED-48F8-9240-BBEAD452ABB4}" dt="2026-01-07T07:52:10.679" v="63" actId="1035"/>
          <ac:picMkLst>
            <pc:docMk/>
            <pc:sldMk cId="4099872630" sldId="2147375939"/>
            <ac:picMk id="6" creationId="{940D5252-86EC-5A92-74AD-5A82BC63A62C}"/>
          </ac:picMkLst>
        </pc:picChg>
      </pc:sldChg>
      <pc:sldChg chg="addSp delSp modSp add mod">
        <pc:chgData name="Jithin Mohan [UNext]" userId="385dd2b6-d5cf-4598-8587-f7835bad5e0b" providerId="ADAL" clId="{E895FC88-B9ED-48F8-9240-BBEAD452ABB4}" dt="2026-01-07T07:56:39.419" v="86" actId="1076"/>
        <pc:sldMkLst>
          <pc:docMk/>
          <pc:sldMk cId="2834060908" sldId="2147375940"/>
        </pc:sldMkLst>
        <pc:spChg chg="add mod">
          <ac:chgData name="Jithin Mohan [UNext]" userId="385dd2b6-d5cf-4598-8587-f7835bad5e0b" providerId="ADAL" clId="{E895FC88-B9ED-48F8-9240-BBEAD452ABB4}" dt="2026-01-07T07:56:39.419" v="86" actId="1076"/>
          <ac:spMkLst>
            <pc:docMk/>
            <pc:sldMk cId="2834060908" sldId="2147375940"/>
            <ac:spMk id="3" creationId="{13B119AC-3048-95CD-3CDF-7F6965F64464}"/>
          </ac:spMkLst>
        </pc:spChg>
        <pc:spChg chg="mod">
          <ac:chgData name="Jithin Mohan [UNext]" userId="385dd2b6-d5cf-4598-8587-f7835bad5e0b" providerId="ADAL" clId="{E895FC88-B9ED-48F8-9240-BBEAD452ABB4}" dt="2026-01-07T07:56:12.853" v="79" actId="20577"/>
          <ac:spMkLst>
            <pc:docMk/>
            <pc:sldMk cId="2834060908" sldId="2147375940"/>
            <ac:spMk id="4" creationId="{3E7F068C-7331-4C29-982C-3427FBB32AA9}"/>
          </ac:spMkLst>
        </pc:spChg>
        <pc:picChg chg="add mod">
          <ac:chgData name="Jithin Mohan [UNext]" userId="385dd2b6-d5cf-4598-8587-f7835bad5e0b" providerId="ADAL" clId="{E895FC88-B9ED-48F8-9240-BBEAD452ABB4}" dt="2026-01-07T07:56:35.381" v="85" actId="1076"/>
          <ac:picMkLst>
            <pc:docMk/>
            <pc:sldMk cId="2834060908" sldId="2147375940"/>
            <ac:picMk id="2" creationId="{1B209675-F1C3-74E2-920D-6596BC1BCABD}"/>
          </ac:picMkLst>
        </pc:picChg>
        <pc:picChg chg="del">
          <ac:chgData name="Jithin Mohan [UNext]" userId="385dd2b6-d5cf-4598-8587-f7835bad5e0b" providerId="ADAL" clId="{E895FC88-B9ED-48F8-9240-BBEAD452ABB4}" dt="2026-01-07T07:56:05.034" v="68" actId="478"/>
          <ac:picMkLst>
            <pc:docMk/>
            <pc:sldMk cId="2834060908" sldId="2147375940"/>
            <ac:picMk id="6" creationId="{940D5252-86EC-5A92-74AD-5A82BC63A62C}"/>
          </ac:picMkLst>
        </pc:picChg>
      </pc:sldChg>
      <pc:sldChg chg="addSp delSp modSp add mod">
        <pc:chgData name="Jithin Mohan [UNext]" userId="385dd2b6-d5cf-4598-8587-f7835bad5e0b" providerId="ADAL" clId="{E895FC88-B9ED-48F8-9240-BBEAD452ABB4}" dt="2026-01-07T08:56:50.257" v="172" actId="12"/>
        <pc:sldMkLst>
          <pc:docMk/>
          <pc:sldMk cId="2225651099" sldId="2147375941"/>
        </pc:sldMkLst>
        <pc:spChg chg="del">
          <ac:chgData name="Jithin Mohan [UNext]" userId="385dd2b6-d5cf-4598-8587-f7835bad5e0b" providerId="ADAL" clId="{E895FC88-B9ED-48F8-9240-BBEAD452ABB4}" dt="2026-01-07T08:48:40.248" v="90" actId="478"/>
          <ac:spMkLst>
            <pc:docMk/>
            <pc:sldMk cId="2225651099" sldId="2147375941"/>
            <ac:spMk id="3" creationId="{13B119AC-3048-95CD-3CDF-7F6965F64464}"/>
          </ac:spMkLst>
        </pc:spChg>
        <pc:spChg chg="mod">
          <ac:chgData name="Jithin Mohan [UNext]" userId="385dd2b6-d5cf-4598-8587-f7835bad5e0b" providerId="ADAL" clId="{E895FC88-B9ED-48F8-9240-BBEAD452ABB4}" dt="2026-01-07T08:48:53.794" v="92" actId="20577"/>
          <ac:spMkLst>
            <pc:docMk/>
            <pc:sldMk cId="2225651099" sldId="2147375941"/>
            <ac:spMk id="4" creationId="{3E7F068C-7331-4C29-982C-3427FBB32AA9}"/>
          </ac:spMkLst>
        </pc:spChg>
        <pc:spChg chg="add mod">
          <ac:chgData name="Jithin Mohan [UNext]" userId="385dd2b6-d5cf-4598-8587-f7835bad5e0b" providerId="ADAL" clId="{E895FC88-B9ED-48F8-9240-BBEAD452ABB4}" dt="2026-01-07T08:56:50.257" v="172" actId="12"/>
          <ac:spMkLst>
            <pc:docMk/>
            <pc:sldMk cId="2225651099" sldId="2147375941"/>
            <ac:spMk id="6" creationId="{0A2F8703-99C8-A96C-462E-EE27F85A10FF}"/>
          </ac:spMkLst>
        </pc:spChg>
        <pc:spChg chg="add mod ord">
          <ac:chgData name="Jithin Mohan [UNext]" userId="385dd2b6-d5cf-4598-8587-f7835bad5e0b" providerId="ADAL" clId="{E895FC88-B9ED-48F8-9240-BBEAD452ABB4}" dt="2026-01-07T08:52:12.788" v="138" actId="14100"/>
          <ac:spMkLst>
            <pc:docMk/>
            <pc:sldMk cId="2225651099" sldId="2147375941"/>
            <ac:spMk id="7" creationId="{7CC3D6FD-0122-2E7B-B54E-037415B9DC19}"/>
          </ac:spMkLst>
        </pc:spChg>
        <pc:picChg chg="del">
          <ac:chgData name="Jithin Mohan [UNext]" userId="385dd2b6-d5cf-4598-8587-f7835bad5e0b" providerId="ADAL" clId="{E895FC88-B9ED-48F8-9240-BBEAD452ABB4}" dt="2026-01-07T08:48:33.809" v="89" actId="478"/>
          <ac:picMkLst>
            <pc:docMk/>
            <pc:sldMk cId="2225651099" sldId="2147375941"/>
            <ac:picMk id="2" creationId="{1B209675-F1C3-74E2-920D-6596BC1BCABD}"/>
          </ac:picMkLst>
        </pc:picChg>
        <pc:picChg chg="add mod">
          <ac:chgData name="Jithin Mohan [UNext]" userId="385dd2b6-d5cf-4598-8587-f7835bad5e0b" providerId="ADAL" clId="{E895FC88-B9ED-48F8-9240-BBEAD452ABB4}" dt="2026-01-07T08:51:58.342" v="125" actId="732"/>
          <ac:picMkLst>
            <pc:docMk/>
            <pc:sldMk cId="2225651099" sldId="2147375941"/>
            <ac:picMk id="5" creationId="{4D040758-55D0-50BE-7A2C-F1D3EBB09CFF}"/>
          </ac:picMkLst>
        </pc:picChg>
      </pc:sldChg>
      <pc:sldChg chg="addSp delSp modSp add mod">
        <pc:chgData name="Jithin Mohan [UNext]" userId="385dd2b6-d5cf-4598-8587-f7835bad5e0b" providerId="ADAL" clId="{E895FC88-B9ED-48F8-9240-BBEAD452ABB4}" dt="2026-01-07T08:56:29.227" v="166" actId="20577"/>
        <pc:sldMkLst>
          <pc:docMk/>
          <pc:sldMk cId="1576921709" sldId="2147375942"/>
        </pc:sldMkLst>
        <pc:spChg chg="add mod">
          <ac:chgData name="Jithin Mohan [UNext]" userId="385dd2b6-d5cf-4598-8587-f7835bad5e0b" providerId="ADAL" clId="{E895FC88-B9ED-48F8-9240-BBEAD452ABB4}" dt="2026-01-07T08:56:29.227" v="166" actId="20577"/>
          <ac:spMkLst>
            <pc:docMk/>
            <pc:sldMk cId="1576921709" sldId="2147375942"/>
            <ac:spMk id="2" creationId="{F27D715E-7296-2EC2-CD24-23AA26B4BACF}"/>
          </ac:spMkLst>
        </pc:spChg>
        <pc:spChg chg="del">
          <ac:chgData name="Jithin Mohan [UNext]" userId="385dd2b6-d5cf-4598-8587-f7835bad5e0b" providerId="ADAL" clId="{E895FC88-B9ED-48F8-9240-BBEAD452ABB4}" dt="2026-01-07T08:55:32.635" v="143" actId="478"/>
          <ac:spMkLst>
            <pc:docMk/>
            <pc:sldMk cId="1576921709" sldId="2147375942"/>
            <ac:spMk id="6" creationId="{0A2F8703-99C8-A96C-462E-EE27F85A10FF}"/>
          </ac:spMkLst>
        </pc:spChg>
        <pc:spChg chg="mod">
          <ac:chgData name="Jithin Mohan [UNext]" userId="385dd2b6-d5cf-4598-8587-f7835bad5e0b" providerId="ADAL" clId="{E895FC88-B9ED-48F8-9240-BBEAD452ABB4}" dt="2026-01-07T08:55:27.199" v="142" actId="14100"/>
          <ac:spMkLst>
            <pc:docMk/>
            <pc:sldMk cId="1576921709" sldId="2147375942"/>
            <ac:spMk id="7" creationId="{7CC3D6FD-0122-2E7B-B54E-037415B9DC19}"/>
          </ac:spMkLst>
        </pc:spChg>
        <pc:picChg chg="del">
          <ac:chgData name="Jithin Mohan [UNext]" userId="385dd2b6-d5cf-4598-8587-f7835bad5e0b" providerId="ADAL" clId="{E895FC88-B9ED-48F8-9240-BBEAD452ABB4}" dt="2026-01-07T08:55:23.355" v="141" actId="478"/>
          <ac:picMkLst>
            <pc:docMk/>
            <pc:sldMk cId="1576921709" sldId="2147375942"/>
            <ac:picMk id="5" creationId="{4D040758-55D0-50BE-7A2C-F1D3EBB09CFF}"/>
          </ac:picMkLst>
        </pc:picChg>
      </pc:sldChg>
      <pc:sldChg chg="addSp delSp modSp add mod">
        <pc:chgData name="Jithin Mohan [UNext]" userId="385dd2b6-d5cf-4598-8587-f7835bad5e0b" providerId="ADAL" clId="{E895FC88-B9ED-48F8-9240-BBEAD452ABB4}" dt="2026-01-07T09:00:21.756" v="196" actId="1076"/>
        <pc:sldMkLst>
          <pc:docMk/>
          <pc:sldMk cId="3390529287" sldId="2147375943"/>
        </pc:sldMkLst>
        <pc:spChg chg="del">
          <ac:chgData name="Jithin Mohan [UNext]" userId="385dd2b6-d5cf-4598-8587-f7835bad5e0b" providerId="ADAL" clId="{E895FC88-B9ED-48F8-9240-BBEAD452ABB4}" dt="2026-01-07T08:58:35.932" v="175" actId="478"/>
          <ac:spMkLst>
            <pc:docMk/>
            <pc:sldMk cId="3390529287" sldId="2147375943"/>
            <ac:spMk id="2" creationId="{F27D715E-7296-2EC2-CD24-23AA26B4BACF}"/>
          </ac:spMkLst>
        </pc:spChg>
        <pc:spChg chg="mod">
          <ac:chgData name="Jithin Mohan [UNext]" userId="385dd2b6-d5cf-4598-8587-f7835bad5e0b" providerId="ADAL" clId="{E895FC88-B9ED-48F8-9240-BBEAD452ABB4}" dt="2026-01-07T08:58:45.124" v="176"/>
          <ac:spMkLst>
            <pc:docMk/>
            <pc:sldMk cId="3390529287" sldId="2147375943"/>
            <ac:spMk id="4" creationId="{3E7F068C-7331-4C29-982C-3427FBB32AA9}"/>
          </ac:spMkLst>
        </pc:spChg>
        <pc:spChg chg="mod">
          <ac:chgData name="Jithin Mohan [UNext]" userId="385dd2b6-d5cf-4598-8587-f7835bad5e0b" providerId="ADAL" clId="{E895FC88-B9ED-48F8-9240-BBEAD452ABB4}" dt="2026-01-07T08:59:10.884" v="178"/>
          <ac:spMkLst>
            <pc:docMk/>
            <pc:sldMk cId="3390529287" sldId="2147375943"/>
            <ac:spMk id="5" creationId="{30F1DC3A-C955-D4A1-68B7-B76039BBE1BA}"/>
          </ac:spMkLst>
        </pc:spChg>
        <pc:spChg chg="mod">
          <ac:chgData name="Jithin Mohan [UNext]" userId="385dd2b6-d5cf-4598-8587-f7835bad5e0b" providerId="ADAL" clId="{E895FC88-B9ED-48F8-9240-BBEAD452ABB4}" dt="2026-01-07T08:59:17.534" v="179" actId="2711"/>
          <ac:spMkLst>
            <pc:docMk/>
            <pc:sldMk cId="3390529287" sldId="2147375943"/>
            <ac:spMk id="6" creationId="{AB051B70-A1E5-A283-B6D2-9EEE2964EE72}"/>
          </ac:spMkLst>
        </pc:spChg>
        <pc:spChg chg="mod">
          <ac:chgData name="Jithin Mohan [UNext]" userId="385dd2b6-d5cf-4598-8587-f7835bad5e0b" providerId="ADAL" clId="{E895FC88-B9ED-48F8-9240-BBEAD452ABB4}" dt="2026-01-07T08:59:17.534" v="179" actId="2711"/>
          <ac:spMkLst>
            <pc:docMk/>
            <pc:sldMk cId="3390529287" sldId="2147375943"/>
            <ac:spMk id="8" creationId="{23DDCC05-2D9E-BFCE-4D84-13BCFE9E3DE8}"/>
          </ac:spMkLst>
        </pc:spChg>
        <pc:spChg chg="mod">
          <ac:chgData name="Jithin Mohan [UNext]" userId="385dd2b6-d5cf-4598-8587-f7835bad5e0b" providerId="ADAL" clId="{E895FC88-B9ED-48F8-9240-BBEAD452ABB4}" dt="2026-01-07T08:59:17.534" v="179" actId="2711"/>
          <ac:spMkLst>
            <pc:docMk/>
            <pc:sldMk cId="3390529287" sldId="2147375943"/>
            <ac:spMk id="9" creationId="{226F2980-EFD1-A43B-68BC-75BC322F6CE7}"/>
          </ac:spMkLst>
        </pc:spChg>
        <pc:spChg chg="mod">
          <ac:chgData name="Jithin Mohan [UNext]" userId="385dd2b6-d5cf-4598-8587-f7835bad5e0b" providerId="ADAL" clId="{E895FC88-B9ED-48F8-9240-BBEAD452ABB4}" dt="2026-01-07T08:59:10.884" v="178"/>
          <ac:spMkLst>
            <pc:docMk/>
            <pc:sldMk cId="3390529287" sldId="2147375943"/>
            <ac:spMk id="10" creationId="{2EAEF2F9-B401-668E-DAE9-0F6FB073AD1C}"/>
          </ac:spMkLst>
        </pc:spChg>
        <pc:spChg chg="mod">
          <ac:chgData name="Jithin Mohan [UNext]" userId="385dd2b6-d5cf-4598-8587-f7835bad5e0b" providerId="ADAL" clId="{E895FC88-B9ED-48F8-9240-BBEAD452ABB4}" dt="2026-01-07T08:59:17.534" v="179" actId="2711"/>
          <ac:spMkLst>
            <pc:docMk/>
            <pc:sldMk cId="3390529287" sldId="2147375943"/>
            <ac:spMk id="12" creationId="{1B7A5020-D1AB-D9B6-C023-5C30F970BA1F}"/>
          </ac:spMkLst>
        </pc:spChg>
        <pc:spChg chg="mod">
          <ac:chgData name="Jithin Mohan [UNext]" userId="385dd2b6-d5cf-4598-8587-f7835bad5e0b" providerId="ADAL" clId="{E895FC88-B9ED-48F8-9240-BBEAD452ABB4}" dt="2026-01-07T08:59:17.534" v="179" actId="2711"/>
          <ac:spMkLst>
            <pc:docMk/>
            <pc:sldMk cId="3390529287" sldId="2147375943"/>
            <ac:spMk id="13" creationId="{FFCA6976-1069-D336-3032-AB3AF1CC8A3C}"/>
          </ac:spMkLst>
        </pc:spChg>
        <pc:spChg chg="mod">
          <ac:chgData name="Jithin Mohan [UNext]" userId="385dd2b6-d5cf-4598-8587-f7835bad5e0b" providerId="ADAL" clId="{E895FC88-B9ED-48F8-9240-BBEAD452ABB4}" dt="2026-01-07T08:59:17.534" v="179" actId="2711"/>
          <ac:spMkLst>
            <pc:docMk/>
            <pc:sldMk cId="3390529287" sldId="2147375943"/>
            <ac:spMk id="14" creationId="{BE6A049F-F3A2-85D8-3497-3A26BFE0EC9B}"/>
          </ac:spMkLst>
        </pc:spChg>
        <pc:spChg chg="mod">
          <ac:chgData name="Jithin Mohan [UNext]" userId="385dd2b6-d5cf-4598-8587-f7835bad5e0b" providerId="ADAL" clId="{E895FC88-B9ED-48F8-9240-BBEAD452ABB4}" dt="2026-01-07T08:59:10.884" v="178"/>
          <ac:spMkLst>
            <pc:docMk/>
            <pc:sldMk cId="3390529287" sldId="2147375943"/>
            <ac:spMk id="15" creationId="{E6B99ED2-4E16-10AF-1520-F329424ACE2B}"/>
          </ac:spMkLst>
        </pc:spChg>
        <pc:spChg chg="mod">
          <ac:chgData name="Jithin Mohan [UNext]" userId="385dd2b6-d5cf-4598-8587-f7835bad5e0b" providerId="ADAL" clId="{E895FC88-B9ED-48F8-9240-BBEAD452ABB4}" dt="2026-01-07T08:59:17.534" v="179" actId="2711"/>
          <ac:spMkLst>
            <pc:docMk/>
            <pc:sldMk cId="3390529287" sldId="2147375943"/>
            <ac:spMk id="16" creationId="{A9A65BB8-0210-F8BA-F289-997458D37774}"/>
          </ac:spMkLst>
        </pc:spChg>
        <pc:spChg chg="mod">
          <ac:chgData name="Jithin Mohan [UNext]" userId="385dd2b6-d5cf-4598-8587-f7835bad5e0b" providerId="ADAL" clId="{E895FC88-B9ED-48F8-9240-BBEAD452ABB4}" dt="2026-01-07T08:59:17.534" v="179" actId="2711"/>
          <ac:spMkLst>
            <pc:docMk/>
            <pc:sldMk cId="3390529287" sldId="2147375943"/>
            <ac:spMk id="17" creationId="{23AD16DF-0F75-0505-3F61-867D917235C9}"/>
          </ac:spMkLst>
        </pc:spChg>
        <pc:spChg chg="mod">
          <ac:chgData name="Jithin Mohan [UNext]" userId="385dd2b6-d5cf-4598-8587-f7835bad5e0b" providerId="ADAL" clId="{E895FC88-B9ED-48F8-9240-BBEAD452ABB4}" dt="2026-01-07T08:59:17.534" v="179" actId="2711"/>
          <ac:spMkLst>
            <pc:docMk/>
            <pc:sldMk cId="3390529287" sldId="2147375943"/>
            <ac:spMk id="18" creationId="{D559D414-AF22-3664-BD73-1546EE0CAA9F}"/>
          </ac:spMkLst>
        </pc:spChg>
        <pc:spChg chg="mod">
          <ac:chgData name="Jithin Mohan [UNext]" userId="385dd2b6-d5cf-4598-8587-f7835bad5e0b" providerId="ADAL" clId="{E895FC88-B9ED-48F8-9240-BBEAD452ABB4}" dt="2026-01-07T08:59:10.884" v="178"/>
          <ac:spMkLst>
            <pc:docMk/>
            <pc:sldMk cId="3390529287" sldId="2147375943"/>
            <ac:spMk id="19" creationId="{D4AED223-22B2-C771-A2DA-F31BC3DF8A0F}"/>
          </ac:spMkLst>
        </pc:spChg>
        <pc:spChg chg="mod">
          <ac:chgData name="Jithin Mohan [UNext]" userId="385dd2b6-d5cf-4598-8587-f7835bad5e0b" providerId="ADAL" clId="{E895FC88-B9ED-48F8-9240-BBEAD452ABB4}" dt="2026-01-07T08:59:17.534" v="179" actId="2711"/>
          <ac:spMkLst>
            <pc:docMk/>
            <pc:sldMk cId="3390529287" sldId="2147375943"/>
            <ac:spMk id="20" creationId="{16ABBA5F-D2B6-EC63-2089-0230FB3A8FFC}"/>
          </ac:spMkLst>
        </pc:spChg>
        <pc:spChg chg="mod">
          <ac:chgData name="Jithin Mohan [UNext]" userId="385dd2b6-d5cf-4598-8587-f7835bad5e0b" providerId="ADAL" clId="{E895FC88-B9ED-48F8-9240-BBEAD452ABB4}" dt="2026-01-07T08:59:17.534" v="179" actId="2711"/>
          <ac:spMkLst>
            <pc:docMk/>
            <pc:sldMk cId="3390529287" sldId="2147375943"/>
            <ac:spMk id="21" creationId="{817C96FC-A072-8311-399B-4D810189CDCB}"/>
          </ac:spMkLst>
        </pc:spChg>
        <pc:spChg chg="mod">
          <ac:chgData name="Jithin Mohan [UNext]" userId="385dd2b6-d5cf-4598-8587-f7835bad5e0b" providerId="ADAL" clId="{E895FC88-B9ED-48F8-9240-BBEAD452ABB4}" dt="2026-01-07T08:59:17.534" v="179" actId="2711"/>
          <ac:spMkLst>
            <pc:docMk/>
            <pc:sldMk cId="3390529287" sldId="2147375943"/>
            <ac:spMk id="22" creationId="{D6990273-59AC-D596-09A5-AA5C37D42A99}"/>
          </ac:spMkLst>
        </pc:spChg>
        <pc:grpChg chg="add mod">
          <ac:chgData name="Jithin Mohan [UNext]" userId="385dd2b6-d5cf-4598-8587-f7835bad5e0b" providerId="ADAL" clId="{E895FC88-B9ED-48F8-9240-BBEAD452ABB4}" dt="2026-01-07T08:59:24.698" v="180" actId="1076"/>
          <ac:grpSpMkLst>
            <pc:docMk/>
            <pc:sldMk cId="3390529287" sldId="2147375943"/>
            <ac:grpSpMk id="3" creationId="{07ECF675-3767-F278-7FE2-39839796AAD2}"/>
          </ac:grpSpMkLst>
        </pc:grpChg>
        <pc:picChg chg="add mod modCrop">
          <ac:chgData name="Jithin Mohan [UNext]" userId="385dd2b6-d5cf-4598-8587-f7835bad5e0b" providerId="ADAL" clId="{E895FC88-B9ED-48F8-9240-BBEAD452ABB4}" dt="2026-01-07T09:00:21.756" v="196" actId="1076"/>
          <ac:picMkLst>
            <pc:docMk/>
            <pc:sldMk cId="3390529287" sldId="2147375943"/>
            <ac:picMk id="23" creationId="{8769A489-62DA-A237-CBAC-893B165E32D4}"/>
          </ac:picMkLst>
        </pc:picChg>
      </pc:sldChg>
      <pc:sldChg chg="addSp delSp modSp add mod">
        <pc:chgData name="Jithin Mohan [UNext]" userId="385dd2b6-d5cf-4598-8587-f7835bad5e0b" providerId="ADAL" clId="{E895FC88-B9ED-48F8-9240-BBEAD452ABB4}" dt="2026-01-07T09:03:40.465" v="252" actId="1038"/>
        <pc:sldMkLst>
          <pc:docMk/>
          <pc:sldMk cId="3793861498" sldId="2147375944"/>
        </pc:sldMkLst>
        <pc:spChg chg="mod">
          <ac:chgData name="Jithin Mohan [UNext]" userId="385dd2b6-d5cf-4598-8587-f7835bad5e0b" providerId="ADAL" clId="{E895FC88-B9ED-48F8-9240-BBEAD452ABB4}" dt="2026-01-07T09:03:23.165" v="247" actId="207"/>
          <ac:spMkLst>
            <pc:docMk/>
            <pc:sldMk cId="3793861498" sldId="2147375944"/>
            <ac:spMk id="2" creationId="{E51E1714-CAC4-C1BB-8F1F-B1155406404F}"/>
          </ac:spMkLst>
        </pc:spChg>
        <pc:spChg chg="del">
          <ac:chgData name="Jithin Mohan [UNext]" userId="385dd2b6-d5cf-4598-8587-f7835bad5e0b" providerId="ADAL" clId="{E895FC88-B9ED-48F8-9240-BBEAD452ABB4}" dt="2026-01-07T09:00:52.807" v="200" actId="478"/>
          <ac:spMkLst>
            <pc:docMk/>
            <pc:sldMk cId="3793861498" sldId="2147375944"/>
            <ac:spMk id="3" creationId="{5DB7F379-40E8-B97B-99B7-F58A57448E00}"/>
          </ac:spMkLst>
        </pc:spChg>
        <pc:spChg chg="mod">
          <ac:chgData name="Jithin Mohan [UNext]" userId="385dd2b6-d5cf-4598-8587-f7835bad5e0b" providerId="ADAL" clId="{E895FC88-B9ED-48F8-9240-BBEAD452ABB4}" dt="2026-01-07T09:00:43.078" v="199"/>
          <ac:spMkLst>
            <pc:docMk/>
            <pc:sldMk cId="3793861498" sldId="2147375944"/>
            <ac:spMk id="4" creationId="{3E7F068C-7331-4C29-982C-3427FBB32AA9}"/>
          </ac:spMkLst>
        </pc:spChg>
        <pc:spChg chg="add mod ord">
          <ac:chgData name="Jithin Mohan [UNext]" userId="385dd2b6-d5cf-4598-8587-f7835bad5e0b" providerId="ADAL" clId="{E895FC88-B9ED-48F8-9240-BBEAD452ABB4}" dt="2026-01-07T09:03:09.068" v="245" actId="166"/>
          <ac:spMkLst>
            <pc:docMk/>
            <pc:sldMk cId="3793861498" sldId="2147375944"/>
            <ac:spMk id="5" creationId="{F7E0DD4C-D477-8F23-A797-4323EAFCAC75}"/>
          </ac:spMkLst>
        </pc:spChg>
        <pc:picChg chg="add mod">
          <ac:chgData name="Jithin Mohan [UNext]" userId="385dd2b6-d5cf-4598-8587-f7835bad5e0b" providerId="ADAL" clId="{E895FC88-B9ED-48F8-9240-BBEAD452ABB4}" dt="2026-01-07T09:03:40.465" v="252" actId="1038"/>
          <ac:picMkLst>
            <pc:docMk/>
            <pc:sldMk cId="3793861498" sldId="2147375944"/>
            <ac:picMk id="6" creationId="{92E5DDBE-0A55-32FC-D2C0-8A45B9BC694B}"/>
          </ac:picMkLst>
        </pc:picChg>
      </pc:sldChg>
      <pc:sldChg chg="addSp delSp modSp add mod">
        <pc:chgData name="Jithin Mohan [UNext]" userId="385dd2b6-d5cf-4598-8587-f7835bad5e0b" providerId="ADAL" clId="{E895FC88-B9ED-48F8-9240-BBEAD452ABB4}" dt="2026-01-07T09:06:06.311" v="277" actId="12"/>
        <pc:sldMkLst>
          <pc:docMk/>
          <pc:sldMk cId="2732932900" sldId="2147375945"/>
        </pc:sldMkLst>
        <pc:spChg chg="add mod">
          <ac:chgData name="Jithin Mohan [UNext]" userId="385dd2b6-d5cf-4598-8587-f7835bad5e0b" providerId="ADAL" clId="{E895FC88-B9ED-48F8-9240-BBEAD452ABB4}" dt="2026-01-07T09:06:06.311" v="277" actId="12"/>
          <ac:spMkLst>
            <pc:docMk/>
            <pc:sldMk cId="2732932900" sldId="2147375945"/>
            <ac:spMk id="3" creationId="{8DFB795D-F1E1-1050-9B6C-6F105E011B49}"/>
          </ac:spMkLst>
        </pc:spChg>
        <pc:spChg chg="del">
          <ac:chgData name="Jithin Mohan [UNext]" userId="385dd2b6-d5cf-4598-8587-f7835bad5e0b" providerId="ADAL" clId="{E895FC88-B9ED-48F8-9240-BBEAD452ABB4}" dt="2026-01-07T09:05:06.470" v="255" actId="478"/>
          <ac:spMkLst>
            <pc:docMk/>
            <pc:sldMk cId="2732932900" sldId="2147375945"/>
            <ac:spMk id="5" creationId="{F7E0DD4C-D477-8F23-A797-4323EAFCAC75}"/>
          </ac:spMkLst>
        </pc:spChg>
      </pc:sldChg>
      <pc:sldChg chg="addSp delSp modSp add mod">
        <pc:chgData name="Jithin Mohan [UNext]" userId="385dd2b6-d5cf-4598-8587-f7835bad5e0b" providerId="ADAL" clId="{E895FC88-B9ED-48F8-9240-BBEAD452ABB4}" dt="2026-01-07T09:15:07.255" v="426" actId="1076"/>
        <pc:sldMkLst>
          <pc:docMk/>
          <pc:sldMk cId="3992096950" sldId="2147375946"/>
        </pc:sldMkLst>
        <pc:spChg chg="mod">
          <ac:chgData name="Jithin Mohan [UNext]" userId="385dd2b6-d5cf-4598-8587-f7835bad5e0b" providerId="ADAL" clId="{E895FC88-B9ED-48F8-9240-BBEAD452ABB4}" dt="2026-01-07T09:10:51.006" v="396" actId="207"/>
          <ac:spMkLst>
            <pc:docMk/>
            <pc:sldMk cId="3992096950" sldId="2147375946"/>
            <ac:spMk id="2" creationId="{E51E1714-CAC4-C1BB-8F1F-B1155406404F}"/>
          </ac:spMkLst>
        </pc:spChg>
        <pc:spChg chg="del">
          <ac:chgData name="Jithin Mohan [UNext]" userId="385dd2b6-d5cf-4598-8587-f7835bad5e0b" providerId="ADAL" clId="{E895FC88-B9ED-48F8-9240-BBEAD452ABB4}" dt="2026-01-07T09:06:30.908" v="279" actId="478"/>
          <ac:spMkLst>
            <pc:docMk/>
            <pc:sldMk cId="3992096950" sldId="2147375946"/>
            <ac:spMk id="3" creationId="{8DFB795D-F1E1-1050-9B6C-6F105E011B49}"/>
          </ac:spMkLst>
        </pc:spChg>
        <pc:spChg chg="mod">
          <ac:chgData name="Jithin Mohan [UNext]" userId="385dd2b6-d5cf-4598-8587-f7835bad5e0b" providerId="ADAL" clId="{E895FC88-B9ED-48F8-9240-BBEAD452ABB4}" dt="2026-01-07T09:06:59.453" v="291" actId="20577"/>
          <ac:spMkLst>
            <pc:docMk/>
            <pc:sldMk cId="3992096950" sldId="2147375946"/>
            <ac:spMk id="4" creationId="{3E7F068C-7331-4C29-982C-3427FBB32AA9}"/>
          </ac:spMkLst>
        </pc:spChg>
        <pc:spChg chg="add mod">
          <ac:chgData name="Jithin Mohan [UNext]" userId="385dd2b6-d5cf-4598-8587-f7835bad5e0b" providerId="ADAL" clId="{E895FC88-B9ED-48F8-9240-BBEAD452ABB4}" dt="2026-01-07T09:07:35.385" v="302" actId="1076"/>
          <ac:spMkLst>
            <pc:docMk/>
            <pc:sldMk cId="3992096950" sldId="2147375946"/>
            <ac:spMk id="7" creationId="{5657CD85-801F-FB93-5B2C-DA62953FE311}"/>
          </ac:spMkLst>
        </pc:spChg>
        <pc:spChg chg="add mod">
          <ac:chgData name="Jithin Mohan [UNext]" userId="385dd2b6-d5cf-4598-8587-f7835bad5e0b" providerId="ADAL" clId="{E895FC88-B9ED-48F8-9240-BBEAD452ABB4}" dt="2026-01-07T09:14:30.834" v="421" actId="20577"/>
          <ac:spMkLst>
            <pc:docMk/>
            <pc:sldMk cId="3992096950" sldId="2147375946"/>
            <ac:spMk id="9" creationId="{59F0A40F-326D-13E0-A576-F2B5AEDF77C3}"/>
          </ac:spMkLst>
        </pc:spChg>
        <pc:spChg chg="add mod">
          <ac:chgData name="Jithin Mohan [UNext]" userId="385dd2b6-d5cf-4598-8587-f7835bad5e0b" providerId="ADAL" clId="{E895FC88-B9ED-48F8-9240-BBEAD452ABB4}" dt="2026-01-07T09:14:40.348" v="425" actId="1036"/>
          <ac:spMkLst>
            <pc:docMk/>
            <pc:sldMk cId="3992096950" sldId="2147375946"/>
            <ac:spMk id="12" creationId="{2D0B9CD8-20F3-D02C-2110-3DEA12F4E946}"/>
          </ac:spMkLst>
        </pc:spChg>
        <pc:spChg chg="add mod ord">
          <ac:chgData name="Jithin Mohan [UNext]" userId="385dd2b6-d5cf-4598-8587-f7835bad5e0b" providerId="ADAL" clId="{E895FC88-B9ED-48F8-9240-BBEAD452ABB4}" dt="2026-01-07T09:13:45.783" v="409" actId="14100"/>
          <ac:spMkLst>
            <pc:docMk/>
            <pc:sldMk cId="3992096950" sldId="2147375946"/>
            <ac:spMk id="13" creationId="{EE66D798-EF96-07DF-D5FC-1AEF83B4C32E}"/>
          </ac:spMkLst>
        </pc:spChg>
        <pc:spChg chg="add mod ord">
          <ac:chgData name="Jithin Mohan [UNext]" userId="385dd2b6-d5cf-4598-8587-f7835bad5e0b" providerId="ADAL" clId="{E895FC88-B9ED-48F8-9240-BBEAD452ABB4}" dt="2026-01-07T09:14:37.017" v="422" actId="1076"/>
          <ac:spMkLst>
            <pc:docMk/>
            <pc:sldMk cId="3992096950" sldId="2147375946"/>
            <ac:spMk id="14" creationId="{3CAA325F-599B-9141-DF5A-2D97760444D0}"/>
          </ac:spMkLst>
        </pc:spChg>
        <pc:spChg chg="add mod ord">
          <ac:chgData name="Jithin Mohan [UNext]" userId="385dd2b6-d5cf-4598-8587-f7835bad5e0b" providerId="ADAL" clId="{E895FC88-B9ED-48F8-9240-BBEAD452ABB4}" dt="2026-01-07T09:15:07.255" v="426" actId="1076"/>
          <ac:spMkLst>
            <pc:docMk/>
            <pc:sldMk cId="3992096950" sldId="2147375946"/>
            <ac:spMk id="15" creationId="{776EFA06-2A52-0114-A10B-99A72E5A6D76}"/>
          </ac:spMkLst>
        </pc:spChg>
        <pc:picChg chg="del">
          <ac:chgData name="Jithin Mohan [UNext]" userId="385dd2b6-d5cf-4598-8587-f7835bad5e0b" providerId="ADAL" clId="{E895FC88-B9ED-48F8-9240-BBEAD452ABB4}" dt="2026-01-07T09:06:32.600" v="280" actId="478"/>
          <ac:picMkLst>
            <pc:docMk/>
            <pc:sldMk cId="3992096950" sldId="2147375946"/>
            <ac:picMk id="6" creationId="{92E5DDBE-0A55-32FC-D2C0-8A45B9BC694B}"/>
          </ac:picMkLst>
        </pc:picChg>
      </pc:sldChg>
      <pc:sldChg chg="delSp modSp add mod">
        <pc:chgData name="Jithin Mohan [UNext]" userId="385dd2b6-d5cf-4598-8587-f7835bad5e0b" providerId="ADAL" clId="{E895FC88-B9ED-48F8-9240-BBEAD452ABB4}" dt="2026-01-07T09:16:37.634" v="444" actId="1076"/>
        <pc:sldMkLst>
          <pc:docMk/>
          <pc:sldMk cId="3449603919" sldId="2147375947"/>
        </pc:sldMkLst>
        <pc:spChg chg="mod">
          <ac:chgData name="Jithin Mohan [UNext]" userId="385dd2b6-d5cf-4598-8587-f7835bad5e0b" providerId="ADAL" clId="{E895FC88-B9ED-48F8-9240-BBEAD452ABB4}" dt="2026-01-07T09:15:57.555" v="433" actId="14100"/>
          <ac:spMkLst>
            <pc:docMk/>
            <pc:sldMk cId="3449603919" sldId="2147375947"/>
            <ac:spMk id="2" creationId="{E51E1714-CAC4-C1BB-8F1F-B1155406404F}"/>
          </ac:spMkLst>
        </pc:spChg>
        <pc:spChg chg="mod">
          <ac:chgData name="Jithin Mohan [UNext]" userId="385dd2b6-d5cf-4598-8587-f7835bad5e0b" providerId="ADAL" clId="{E895FC88-B9ED-48F8-9240-BBEAD452ABB4}" dt="2026-01-07T09:15:45.521" v="432"/>
          <ac:spMkLst>
            <pc:docMk/>
            <pc:sldMk cId="3449603919" sldId="2147375947"/>
            <ac:spMk id="4" creationId="{3E7F068C-7331-4C29-982C-3427FBB32AA9}"/>
          </ac:spMkLst>
        </pc:spChg>
        <pc:spChg chg="mod">
          <ac:chgData name="Jithin Mohan [UNext]" userId="385dd2b6-d5cf-4598-8587-f7835bad5e0b" providerId="ADAL" clId="{E895FC88-B9ED-48F8-9240-BBEAD452ABB4}" dt="2026-01-07T09:16:37.634" v="444" actId="1076"/>
          <ac:spMkLst>
            <pc:docMk/>
            <pc:sldMk cId="3449603919" sldId="2147375947"/>
            <ac:spMk id="7" creationId="{5657CD85-801F-FB93-5B2C-DA62953FE311}"/>
          </ac:spMkLst>
        </pc:spChg>
        <pc:spChg chg="del">
          <ac:chgData name="Jithin Mohan [UNext]" userId="385dd2b6-d5cf-4598-8587-f7835bad5e0b" providerId="ADAL" clId="{E895FC88-B9ED-48F8-9240-BBEAD452ABB4}" dt="2026-01-07T09:15:32.040" v="431" actId="478"/>
          <ac:spMkLst>
            <pc:docMk/>
            <pc:sldMk cId="3449603919" sldId="2147375947"/>
            <ac:spMk id="9" creationId="{59F0A40F-326D-13E0-A576-F2B5AEDF77C3}"/>
          </ac:spMkLst>
        </pc:spChg>
        <pc:spChg chg="del">
          <ac:chgData name="Jithin Mohan [UNext]" userId="385dd2b6-d5cf-4598-8587-f7835bad5e0b" providerId="ADAL" clId="{E895FC88-B9ED-48F8-9240-BBEAD452ABB4}" dt="2026-01-07T09:15:32.040" v="431" actId="478"/>
          <ac:spMkLst>
            <pc:docMk/>
            <pc:sldMk cId="3449603919" sldId="2147375947"/>
            <ac:spMk id="12" creationId="{2D0B9CD8-20F3-D02C-2110-3DEA12F4E946}"/>
          </ac:spMkLst>
        </pc:spChg>
        <pc:spChg chg="del">
          <ac:chgData name="Jithin Mohan [UNext]" userId="385dd2b6-d5cf-4598-8587-f7835bad5e0b" providerId="ADAL" clId="{E895FC88-B9ED-48F8-9240-BBEAD452ABB4}" dt="2026-01-07T09:15:32.040" v="431" actId="478"/>
          <ac:spMkLst>
            <pc:docMk/>
            <pc:sldMk cId="3449603919" sldId="2147375947"/>
            <ac:spMk id="13" creationId="{EE66D798-EF96-07DF-D5FC-1AEF83B4C32E}"/>
          </ac:spMkLst>
        </pc:spChg>
        <pc:spChg chg="del">
          <ac:chgData name="Jithin Mohan [UNext]" userId="385dd2b6-d5cf-4598-8587-f7835bad5e0b" providerId="ADAL" clId="{E895FC88-B9ED-48F8-9240-BBEAD452ABB4}" dt="2026-01-07T09:15:32.040" v="431" actId="478"/>
          <ac:spMkLst>
            <pc:docMk/>
            <pc:sldMk cId="3449603919" sldId="2147375947"/>
            <ac:spMk id="14" creationId="{3CAA325F-599B-9141-DF5A-2D97760444D0}"/>
          </ac:spMkLst>
        </pc:spChg>
        <pc:spChg chg="del">
          <ac:chgData name="Jithin Mohan [UNext]" userId="385dd2b6-d5cf-4598-8587-f7835bad5e0b" providerId="ADAL" clId="{E895FC88-B9ED-48F8-9240-BBEAD452ABB4}" dt="2026-01-07T09:15:32.040" v="431" actId="478"/>
          <ac:spMkLst>
            <pc:docMk/>
            <pc:sldMk cId="3449603919" sldId="2147375947"/>
            <ac:spMk id="15" creationId="{776EFA06-2A52-0114-A10B-99A72E5A6D76}"/>
          </ac:spMkLst>
        </pc:spChg>
      </pc:sldChg>
      <pc:sldChg chg="addSp delSp modSp add mod">
        <pc:chgData name="Jithin Mohan [UNext]" userId="385dd2b6-d5cf-4598-8587-f7835bad5e0b" providerId="ADAL" clId="{E895FC88-B9ED-48F8-9240-BBEAD452ABB4}" dt="2026-01-07T09:17:37.712" v="454" actId="1076"/>
        <pc:sldMkLst>
          <pc:docMk/>
          <pc:sldMk cId="1197043576" sldId="2147375948"/>
        </pc:sldMkLst>
        <pc:spChg chg="mod">
          <ac:chgData name="Jithin Mohan [UNext]" userId="385dd2b6-d5cf-4598-8587-f7835bad5e0b" providerId="ADAL" clId="{E895FC88-B9ED-48F8-9240-BBEAD452ABB4}" dt="2026-01-07T09:17:30.398" v="453" actId="14100"/>
          <ac:spMkLst>
            <pc:docMk/>
            <pc:sldMk cId="1197043576" sldId="2147375948"/>
            <ac:spMk id="2" creationId="{E51E1714-CAC4-C1BB-8F1F-B1155406404F}"/>
          </ac:spMkLst>
        </pc:spChg>
        <pc:spChg chg="mod">
          <ac:chgData name="Jithin Mohan [UNext]" userId="385dd2b6-d5cf-4598-8587-f7835bad5e0b" providerId="ADAL" clId="{E895FC88-B9ED-48F8-9240-BBEAD452ABB4}" dt="2026-01-07T09:17:03.176" v="447"/>
          <ac:spMkLst>
            <pc:docMk/>
            <pc:sldMk cId="1197043576" sldId="2147375948"/>
            <ac:spMk id="4" creationId="{3E7F068C-7331-4C29-982C-3427FBB32AA9}"/>
          </ac:spMkLst>
        </pc:spChg>
        <pc:spChg chg="del">
          <ac:chgData name="Jithin Mohan [UNext]" userId="385dd2b6-d5cf-4598-8587-f7835bad5e0b" providerId="ADAL" clId="{E895FC88-B9ED-48F8-9240-BBEAD452ABB4}" dt="2026-01-07T09:17:13.690" v="448" actId="478"/>
          <ac:spMkLst>
            <pc:docMk/>
            <pc:sldMk cId="1197043576" sldId="2147375948"/>
            <ac:spMk id="7" creationId="{5657CD85-801F-FB93-5B2C-DA62953FE311}"/>
          </ac:spMkLst>
        </pc:spChg>
        <pc:picChg chg="add mod">
          <ac:chgData name="Jithin Mohan [UNext]" userId="385dd2b6-d5cf-4598-8587-f7835bad5e0b" providerId="ADAL" clId="{E895FC88-B9ED-48F8-9240-BBEAD452ABB4}" dt="2026-01-07T09:17:37.712" v="454" actId="1076"/>
          <ac:picMkLst>
            <pc:docMk/>
            <pc:sldMk cId="1197043576" sldId="2147375948"/>
            <ac:picMk id="3" creationId="{C783F457-3C7A-DD0C-0262-FAC36D33EE4D}"/>
          </ac:picMkLst>
        </pc:picChg>
      </pc:sldChg>
      <pc:sldChg chg="addSp delSp modSp add mod">
        <pc:chgData name="Jithin Mohan [UNext]" userId="385dd2b6-d5cf-4598-8587-f7835bad5e0b" providerId="ADAL" clId="{E895FC88-B9ED-48F8-9240-BBEAD452ABB4}" dt="2026-01-07T09:21:34.871" v="462" actId="1036"/>
        <pc:sldMkLst>
          <pc:docMk/>
          <pc:sldMk cId="2271360821" sldId="2147375949"/>
        </pc:sldMkLst>
        <pc:spChg chg="mod">
          <ac:chgData name="Jithin Mohan [UNext]" userId="385dd2b6-d5cf-4598-8587-f7835bad5e0b" providerId="ADAL" clId="{E895FC88-B9ED-48F8-9240-BBEAD452ABB4}" dt="2026-01-07T09:21:20.088" v="458"/>
          <ac:spMkLst>
            <pc:docMk/>
            <pc:sldMk cId="2271360821" sldId="2147375949"/>
            <ac:spMk id="4" creationId="{3E7F068C-7331-4C29-982C-3427FBB32AA9}"/>
          </ac:spMkLst>
        </pc:spChg>
        <pc:picChg chg="del">
          <ac:chgData name="Jithin Mohan [UNext]" userId="385dd2b6-d5cf-4598-8587-f7835bad5e0b" providerId="ADAL" clId="{E895FC88-B9ED-48F8-9240-BBEAD452ABB4}" dt="2026-01-07T09:21:06.918" v="457" actId="478"/>
          <ac:picMkLst>
            <pc:docMk/>
            <pc:sldMk cId="2271360821" sldId="2147375949"/>
            <ac:picMk id="3" creationId="{C783F457-3C7A-DD0C-0262-FAC36D33EE4D}"/>
          </ac:picMkLst>
        </pc:picChg>
        <pc:picChg chg="add mod">
          <ac:chgData name="Jithin Mohan [UNext]" userId="385dd2b6-d5cf-4598-8587-f7835bad5e0b" providerId="ADAL" clId="{E895FC88-B9ED-48F8-9240-BBEAD452ABB4}" dt="2026-01-07T09:21:34.871" v="462" actId="1036"/>
          <ac:picMkLst>
            <pc:docMk/>
            <pc:sldMk cId="2271360821" sldId="2147375949"/>
            <ac:picMk id="5" creationId="{25BC0352-2226-3203-6047-D80A3B3FC2EC}"/>
          </ac:picMkLst>
        </pc:picChg>
      </pc:sldChg>
      <pc:sldChg chg="addSp delSp modSp add mod">
        <pc:chgData name="Jithin Mohan [UNext]" userId="385dd2b6-d5cf-4598-8587-f7835bad5e0b" providerId="ADAL" clId="{E895FC88-B9ED-48F8-9240-BBEAD452ABB4}" dt="2026-01-07T09:23:23.274" v="480" actId="403"/>
        <pc:sldMkLst>
          <pc:docMk/>
          <pc:sldMk cId="2426411104" sldId="2147375950"/>
        </pc:sldMkLst>
        <pc:spChg chg="del">
          <ac:chgData name="Jithin Mohan [UNext]" userId="385dd2b6-d5cf-4598-8587-f7835bad5e0b" providerId="ADAL" clId="{E895FC88-B9ED-48F8-9240-BBEAD452ABB4}" dt="2026-01-07T09:22:20.371" v="468" actId="478"/>
          <ac:spMkLst>
            <pc:docMk/>
            <pc:sldMk cId="2426411104" sldId="2147375950"/>
            <ac:spMk id="2" creationId="{E51E1714-CAC4-C1BB-8F1F-B1155406404F}"/>
          </ac:spMkLst>
        </pc:spChg>
        <pc:spChg chg="mod">
          <ac:chgData name="Jithin Mohan [UNext]" userId="385dd2b6-d5cf-4598-8587-f7835bad5e0b" providerId="ADAL" clId="{E895FC88-B9ED-48F8-9240-BBEAD452ABB4}" dt="2026-01-07T09:22:06.738" v="466"/>
          <ac:spMkLst>
            <pc:docMk/>
            <pc:sldMk cId="2426411104" sldId="2147375950"/>
            <ac:spMk id="4" creationId="{3E7F068C-7331-4C29-982C-3427FBB32AA9}"/>
          </ac:spMkLst>
        </pc:spChg>
        <pc:graphicFrameChg chg="add mod modGraphic">
          <ac:chgData name="Jithin Mohan [UNext]" userId="385dd2b6-d5cf-4598-8587-f7835bad5e0b" providerId="ADAL" clId="{E895FC88-B9ED-48F8-9240-BBEAD452ABB4}" dt="2026-01-07T09:23:23.274" v="480" actId="403"/>
          <ac:graphicFrameMkLst>
            <pc:docMk/>
            <pc:sldMk cId="2426411104" sldId="2147375950"/>
            <ac:graphicFrameMk id="3" creationId="{A1ABE5B7-0532-605D-9C78-0774611F2C2D}"/>
          </ac:graphicFrameMkLst>
        </pc:graphicFrameChg>
        <pc:picChg chg="del">
          <ac:chgData name="Jithin Mohan [UNext]" userId="385dd2b6-d5cf-4598-8587-f7835bad5e0b" providerId="ADAL" clId="{E895FC88-B9ED-48F8-9240-BBEAD452ABB4}" dt="2026-01-07T09:21:54.425" v="465" actId="478"/>
          <ac:picMkLst>
            <pc:docMk/>
            <pc:sldMk cId="2426411104" sldId="2147375950"/>
            <ac:picMk id="5" creationId="{25BC0352-2226-3203-6047-D80A3B3FC2EC}"/>
          </ac:picMkLst>
        </pc:picChg>
        <pc:picChg chg="add mod">
          <ac:chgData name="Jithin Mohan [UNext]" userId="385dd2b6-d5cf-4598-8587-f7835bad5e0b" providerId="ADAL" clId="{E895FC88-B9ED-48F8-9240-BBEAD452ABB4}" dt="2026-01-07T09:22:17.059" v="467"/>
          <ac:picMkLst>
            <pc:docMk/>
            <pc:sldMk cId="2426411104" sldId="2147375950"/>
            <ac:picMk id="6" creationId="{1A9E59AD-1927-8864-C619-942FB9BA3236}"/>
          </ac:picMkLst>
        </pc:picChg>
        <pc:picChg chg="add mod">
          <ac:chgData name="Jithin Mohan [UNext]" userId="385dd2b6-d5cf-4598-8587-f7835bad5e0b" providerId="ADAL" clId="{E895FC88-B9ED-48F8-9240-BBEAD452ABB4}" dt="2026-01-07T09:22:17.059" v="467"/>
          <ac:picMkLst>
            <pc:docMk/>
            <pc:sldMk cId="2426411104" sldId="2147375950"/>
            <ac:picMk id="7" creationId="{739217C5-1F7E-26B4-00DC-39DEC296F400}"/>
          </ac:picMkLst>
        </pc:picChg>
        <pc:picChg chg="add mod">
          <ac:chgData name="Jithin Mohan [UNext]" userId="385dd2b6-d5cf-4598-8587-f7835bad5e0b" providerId="ADAL" clId="{E895FC88-B9ED-48F8-9240-BBEAD452ABB4}" dt="2026-01-07T09:22:17.059" v="467"/>
          <ac:picMkLst>
            <pc:docMk/>
            <pc:sldMk cId="2426411104" sldId="2147375950"/>
            <ac:picMk id="8" creationId="{F6831226-738F-CF41-720E-C1EFEDEFC71E}"/>
          </ac:picMkLst>
        </pc:picChg>
        <pc:picChg chg="add mod">
          <ac:chgData name="Jithin Mohan [UNext]" userId="385dd2b6-d5cf-4598-8587-f7835bad5e0b" providerId="ADAL" clId="{E895FC88-B9ED-48F8-9240-BBEAD452ABB4}" dt="2026-01-07T09:22:17.059" v="467"/>
          <ac:picMkLst>
            <pc:docMk/>
            <pc:sldMk cId="2426411104" sldId="2147375950"/>
            <ac:picMk id="9" creationId="{B77295C9-8C6B-830C-DA54-F57C6CAD5EBA}"/>
          </ac:picMkLst>
        </pc:picChg>
      </pc:sldChg>
      <pc:sldChg chg="modSp add mod">
        <pc:chgData name="Jithin Mohan [UNext]" userId="385dd2b6-d5cf-4598-8587-f7835bad5e0b" providerId="ADAL" clId="{E895FC88-B9ED-48F8-9240-BBEAD452ABB4}" dt="2026-01-07T09:43:35.153" v="530" actId="1076"/>
        <pc:sldMkLst>
          <pc:docMk/>
          <pc:sldMk cId="3591589060" sldId="2147375951"/>
        </pc:sldMkLst>
        <pc:spChg chg="mod ord">
          <ac:chgData name="Jithin Mohan [UNext]" userId="385dd2b6-d5cf-4598-8587-f7835bad5e0b" providerId="ADAL" clId="{E895FC88-B9ED-48F8-9240-BBEAD452ABB4}" dt="2026-01-07T09:43:35.153" v="530" actId="1076"/>
          <ac:spMkLst>
            <pc:docMk/>
            <pc:sldMk cId="3591589060" sldId="2147375951"/>
            <ac:spMk id="4" creationId="{3E7F068C-7331-4C29-982C-3427FBB32AA9}"/>
          </ac:spMkLst>
        </pc:spChg>
      </pc:sldChg>
      <pc:sldChg chg="addSp delSp modSp add mod">
        <pc:chgData name="Jithin Mohan [UNext]" userId="385dd2b6-d5cf-4598-8587-f7835bad5e0b" providerId="ADAL" clId="{E895FC88-B9ED-48F8-9240-BBEAD452ABB4}" dt="2026-01-07T09:44:35.688" v="545" actId="1076"/>
        <pc:sldMkLst>
          <pc:docMk/>
          <pc:sldMk cId="251012515" sldId="2147375952"/>
        </pc:sldMkLst>
        <pc:spChg chg="add mod">
          <ac:chgData name="Jithin Mohan [UNext]" userId="385dd2b6-d5cf-4598-8587-f7835bad5e0b" providerId="ADAL" clId="{E895FC88-B9ED-48F8-9240-BBEAD452ABB4}" dt="2026-01-07T09:44:35.688" v="545" actId="1076"/>
          <ac:spMkLst>
            <pc:docMk/>
            <pc:sldMk cId="251012515" sldId="2147375952"/>
            <ac:spMk id="3" creationId="{C0C3D33F-7CAD-774E-8F7A-D88636CF0B22}"/>
          </ac:spMkLst>
        </pc:spChg>
        <pc:spChg chg="mod">
          <ac:chgData name="Jithin Mohan [UNext]" userId="385dd2b6-d5cf-4598-8587-f7835bad5e0b" providerId="ADAL" clId="{E895FC88-B9ED-48F8-9240-BBEAD452ABB4}" dt="2026-01-07T09:44:04.886" v="534"/>
          <ac:spMkLst>
            <pc:docMk/>
            <pc:sldMk cId="251012515" sldId="2147375952"/>
            <ac:spMk id="4" creationId="{3E7F068C-7331-4C29-982C-3427FBB32AA9}"/>
          </ac:spMkLst>
        </pc:spChg>
        <pc:spChg chg="del">
          <ac:chgData name="Jithin Mohan [UNext]" userId="385dd2b6-d5cf-4598-8587-f7835bad5e0b" providerId="ADAL" clId="{E895FC88-B9ED-48F8-9240-BBEAD452ABB4}" dt="2026-01-07T09:43:56.051" v="533" actId="478"/>
          <ac:spMkLst>
            <pc:docMk/>
            <pc:sldMk cId="251012515" sldId="2147375952"/>
            <ac:spMk id="7" creationId="{5657CD85-801F-FB93-5B2C-DA62953FE311}"/>
          </ac:spMkLst>
        </pc:spChg>
      </pc:sldChg>
      <pc:sldChg chg="addSp delSp modSp add mod">
        <pc:chgData name="Jithin Mohan [UNext]" userId="385dd2b6-d5cf-4598-8587-f7835bad5e0b" providerId="ADAL" clId="{E895FC88-B9ED-48F8-9240-BBEAD452ABB4}" dt="2026-01-07T09:50:30.724" v="598" actId="1076"/>
        <pc:sldMkLst>
          <pc:docMk/>
          <pc:sldMk cId="580452266" sldId="2147375953"/>
        </pc:sldMkLst>
        <pc:spChg chg="mod">
          <ac:chgData name="Jithin Mohan [UNext]" userId="385dd2b6-d5cf-4598-8587-f7835bad5e0b" providerId="ADAL" clId="{E895FC88-B9ED-48F8-9240-BBEAD452ABB4}" dt="2026-01-07T09:45:28.825" v="559" actId="207"/>
          <ac:spMkLst>
            <pc:docMk/>
            <pc:sldMk cId="580452266" sldId="2147375953"/>
            <ac:spMk id="2" creationId="{E51E1714-CAC4-C1BB-8F1F-B1155406404F}"/>
          </ac:spMkLst>
        </pc:spChg>
        <pc:spChg chg="del">
          <ac:chgData name="Jithin Mohan [UNext]" userId="385dd2b6-d5cf-4598-8587-f7835bad5e0b" providerId="ADAL" clId="{E895FC88-B9ED-48F8-9240-BBEAD452ABB4}" dt="2026-01-07T09:44:50.522" v="548" actId="478"/>
          <ac:spMkLst>
            <pc:docMk/>
            <pc:sldMk cId="580452266" sldId="2147375953"/>
            <ac:spMk id="3" creationId="{C0C3D33F-7CAD-774E-8F7A-D88636CF0B22}"/>
          </ac:spMkLst>
        </pc:spChg>
        <pc:spChg chg="mod">
          <ac:chgData name="Jithin Mohan [UNext]" userId="385dd2b6-d5cf-4598-8587-f7835bad5e0b" providerId="ADAL" clId="{E895FC88-B9ED-48F8-9240-BBEAD452ABB4}" dt="2026-01-07T09:45:00.543" v="551" actId="20577"/>
          <ac:spMkLst>
            <pc:docMk/>
            <pc:sldMk cId="580452266" sldId="2147375953"/>
            <ac:spMk id="4" creationId="{3E7F068C-7331-4C29-982C-3427FBB32AA9}"/>
          </ac:spMkLst>
        </pc:spChg>
        <pc:spChg chg="add mod">
          <ac:chgData name="Jithin Mohan [UNext]" userId="385dd2b6-d5cf-4598-8587-f7835bad5e0b" providerId="ADAL" clId="{E895FC88-B9ED-48F8-9240-BBEAD452ABB4}" dt="2026-01-07T09:45:16.300" v="556" actId="1076"/>
          <ac:spMkLst>
            <pc:docMk/>
            <pc:sldMk cId="580452266" sldId="2147375953"/>
            <ac:spMk id="5" creationId="{51CA8D05-A6A9-0142-C863-531061D238FC}"/>
          </ac:spMkLst>
        </pc:spChg>
        <pc:spChg chg="add mod">
          <ac:chgData name="Jithin Mohan [UNext]" userId="385dd2b6-d5cf-4598-8587-f7835bad5e0b" providerId="ADAL" clId="{E895FC88-B9ED-48F8-9240-BBEAD452ABB4}" dt="2026-01-07T09:50:26.714" v="596" actId="14100"/>
          <ac:spMkLst>
            <pc:docMk/>
            <pc:sldMk cId="580452266" sldId="2147375953"/>
            <ac:spMk id="7" creationId="{688AD116-2C54-A5F4-C32C-974F13DA0922}"/>
          </ac:spMkLst>
        </pc:spChg>
        <pc:picChg chg="add mod">
          <ac:chgData name="Jithin Mohan [UNext]" userId="385dd2b6-d5cf-4598-8587-f7835bad5e0b" providerId="ADAL" clId="{E895FC88-B9ED-48F8-9240-BBEAD452ABB4}" dt="2026-01-07T09:50:30.724" v="598" actId="1076"/>
          <ac:picMkLst>
            <pc:docMk/>
            <pc:sldMk cId="580452266" sldId="2147375953"/>
            <ac:picMk id="6" creationId="{BF190EAC-2998-56EA-0604-C91337130D8C}"/>
          </ac:picMkLst>
        </pc:picChg>
      </pc:sldChg>
      <pc:sldChg chg="addSp delSp modSp add mod">
        <pc:chgData name="Jithin Mohan [UNext]" userId="385dd2b6-d5cf-4598-8587-f7835bad5e0b" providerId="ADAL" clId="{E895FC88-B9ED-48F8-9240-BBEAD452ABB4}" dt="2026-01-07T09:47:36.175" v="582" actId="1076"/>
        <pc:sldMkLst>
          <pc:docMk/>
          <pc:sldMk cId="1919398785" sldId="2147375954"/>
        </pc:sldMkLst>
        <pc:spChg chg="mod">
          <ac:chgData name="Jithin Mohan [UNext]" userId="385dd2b6-d5cf-4598-8587-f7835bad5e0b" providerId="ADAL" clId="{E895FC88-B9ED-48F8-9240-BBEAD452ABB4}" dt="2026-01-07T09:46:27.243" v="567"/>
          <ac:spMkLst>
            <pc:docMk/>
            <pc:sldMk cId="1919398785" sldId="2147375954"/>
            <ac:spMk id="4" creationId="{3E7F068C-7331-4C29-982C-3427FBB32AA9}"/>
          </ac:spMkLst>
        </pc:spChg>
        <pc:spChg chg="mod">
          <ac:chgData name="Jithin Mohan [UNext]" userId="385dd2b6-d5cf-4598-8587-f7835bad5e0b" providerId="ADAL" clId="{E895FC88-B9ED-48F8-9240-BBEAD452ABB4}" dt="2026-01-07T09:46:17.822" v="566"/>
          <ac:spMkLst>
            <pc:docMk/>
            <pc:sldMk cId="1919398785" sldId="2147375954"/>
            <ac:spMk id="5" creationId="{51CA8D05-A6A9-0142-C863-531061D238FC}"/>
          </ac:spMkLst>
        </pc:spChg>
        <pc:spChg chg="add mod">
          <ac:chgData name="Jithin Mohan [UNext]" userId="385dd2b6-d5cf-4598-8587-f7835bad5e0b" providerId="ADAL" clId="{E895FC88-B9ED-48F8-9240-BBEAD452ABB4}" dt="2026-01-07T09:47:36.175" v="582" actId="1076"/>
          <ac:spMkLst>
            <pc:docMk/>
            <pc:sldMk cId="1919398785" sldId="2147375954"/>
            <ac:spMk id="7" creationId="{DD5FB4FD-6717-3A38-06CF-21D080036A38}"/>
          </ac:spMkLst>
        </pc:spChg>
        <pc:picChg chg="add mod">
          <ac:chgData name="Jithin Mohan [UNext]" userId="385dd2b6-d5cf-4598-8587-f7835bad5e0b" providerId="ADAL" clId="{E895FC88-B9ED-48F8-9240-BBEAD452ABB4}" dt="2026-01-07T09:47:20.093" v="578" actId="1076"/>
          <ac:picMkLst>
            <pc:docMk/>
            <pc:sldMk cId="1919398785" sldId="2147375954"/>
            <ac:picMk id="3" creationId="{35195EFC-E79F-EF82-7161-F3E041D24F27}"/>
          </ac:picMkLst>
        </pc:picChg>
        <pc:picChg chg="del">
          <ac:chgData name="Jithin Mohan [UNext]" userId="385dd2b6-d5cf-4598-8587-f7835bad5e0b" providerId="ADAL" clId="{E895FC88-B9ED-48F8-9240-BBEAD452ABB4}" dt="2026-01-07T09:46:08.552" v="565" actId="478"/>
          <ac:picMkLst>
            <pc:docMk/>
            <pc:sldMk cId="1919398785" sldId="2147375954"/>
            <ac:picMk id="6" creationId="{BF190EAC-2998-56EA-0604-C91337130D8C}"/>
          </ac:picMkLst>
        </pc:picChg>
      </pc:sldChg>
      <pc:sldChg chg="addSp delSp modSp add mod">
        <pc:chgData name="Jithin Mohan [UNext]" userId="385dd2b6-d5cf-4598-8587-f7835bad5e0b" providerId="ADAL" clId="{E895FC88-B9ED-48F8-9240-BBEAD452ABB4}" dt="2026-01-07T09:51:44.276" v="609" actId="1076"/>
        <pc:sldMkLst>
          <pc:docMk/>
          <pc:sldMk cId="2429038351" sldId="2147375955"/>
        </pc:sldMkLst>
        <pc:spChg chg="mod">
          <ac:chgData name="Jithin Mohan [UNext]" userId="385dd2b6-d5cf-4598-8587-f7835bad5e0b" providerId="ADAL" clId="{E895FC88-B9ED-48F8-9240-BBEAD452ABB4}" dt="2026-01-07T09:50:52.440" v="601"/>
          <ac:spMkLst>
            <pc:docMk/>
            <pc:sldMk cId="2429038351" sldId="2147375955"/>
            <ac:spMk id="4" creationId="{3E7F068C-7331-4C29-982C-3427FBB32AA9}"/>
          </ac:spMkLst>
        </pc:spChg>
        <pc:spChg chg="mod">
          <ac:chgData name="Jithin Mohan [UNext]" userId="385dd2b6-d5cf-4598-8587-f7835bad5e0b" providerId="ADAL" clId="{E895FC88-B9ED-48F8-9240-BBEAD452ABB4}" dt="2026-01-07T09:51:24.276" v="604"/>
          <ac:spMkLst>
            <pc:docMk/>
            <pc:sldMk cId="2429038351" sldId="2147375955"/>
            <ac:spMk id="5" creationId="{51CA8D05-A6A9-0142-C863-531061D238FC}"/>
          </ac:spMkLst>
        </pc:spChg>
        <pc:spChg chg="mod">
          <ac:chgData name="Jithin Mohan [UNext]" userId="385dd2b6-d5cf-4598-8587-f7835bad5e0b" providerId="ADAL" clId="{E895FC88-B9ED-48F8-9240-BBEAD452ABB4}" dt="2026-01-07T09:51:32.184" v="605"/>
          <ac:spMkLst>
            <pc:docMk/>
            <pc:sldMk cId="2429038351" sldId="2147375955"/>
            <ac:spMk id="7" creationId="{DD5FB4FD-6717-3A38-06CF-21D080036A38}"/>
          </ac:spMkLst>
        </pc:spChg>
        <pc:picChg chg="del">
          <ac:chgData name="Jithin Mohan [UNext]" userId="385dd2b6-d5cf-4598-8587-f7835bad5e0b" providerId="ADAL" clId="{E895FC88-B9ED-48F8-9240-BBEAD452ABB4}" dt="2026-01-07T09:51:37.522" v="606" actId="478"/>
          <ac:picMkLst>
            <pc:docMk/>
            <pc:sldMk cId="2429038351" sldId="2147375955"/>
            <ac:picMk id="3" creationId="{35195EFC-E79F-EF82-7161-F3E041D24F27}"/>
          </ac:picMkLst>
        </pc:picChg>
        <pc:picChg chg="add mod">
          <ac:chgData name="Jithin Mohan [UNext]" userId="385dd2b6-d5cf-4598-8587-f7835bad5e0b" providerId="ADAL" clId="{E895FC88-B9ED-48F8-9240-BBEAD452ABB4}" dt="2026-01-07T09:51:44.276" v="609" actId="1076"/>
          <ac:picMkLst>
            <pc:docMk/>
            <pc:sldMk cId="2429038351" sldId="2147375955"/>
            <ac:picMk id="6" creationId="{DF6F9E56-E96E-AFD6-6086-28C0C31ACB24}"/>
          </ac:picMkLst>
        </pc:picChg>
      </pc:sldChg>
      <pc:sldChg chg="addSp delSp modSp add mod">
        <pc:chgData name="Jithin Mohan [UNext]" userId="385dd2b6-d5cf-4598-8587-f7835bad5e0b" providerId="ADAL" clId="{E895FC88-B9ED-48F8-9240-BBEAD452ABB4}" dt="2026-01-07T09:53:03.619" v="622" actId="1076"/>
        <pc:sldMkLst>
          <pc:docMk/>
          <pc:sldMk cId="696216524" sldId="2147375956"/>
        </pc:sldMkLst>
        <pc:spChg chg="mod">
          <ac:chgData name="Jithin Mohan [UNext]" userId="385dd2b6-d5cf-4598-8587-f7835bad5e0b" providerId="ADAL" clId="{E895FC88-B9ED-48F8-9240-BBEAD452ABB4}" dt="2026-01-07T09:52:23.689" v="613"/>
          <ac:spMkLst>
            <pc:docMk/>
            <pc:sldMk cId="696216524" sldId="2147375956"/>
            <ac:spMk id="4" creationId="{3E7F068C-7331-4C29-982C-3427FBB32AA9}"/>
          </ac:spMkLst>
        </pc:spChg>
        <pc:spChg chg="mod">
          <ac:chgData name="Jithin Mohan [UNext]" userId="385dd2b6-d5cf-4598-8587-f7835bad5e0b" providerId="ADAL" clId="{E895FC88-B9ED-48F8-9240-BBEAD452ABB4}" dt="2026-01-07T09:52:34.684" v="615"/>
          <ac:spMkLst>
            <pc:docMk/>
            <pc:sldMk cId="696216524" sldId="2147375956"/>
            <ac:spMk id="5" creationId="{51CA8D05-A6A9-0142-C863-531061D238FC}"/>
          </ac:spMkLst>
        </pc:spChg>
        <pc:spChg chg="mod">
          <ac:chgData name="Jithin Mohan [UNext]" userId="385dd2b6-d5cf-4598-8587-f7835bad5e0b" providerId="ADAL" clId="{E895FC88-B9ED-48F8-9240-BBEAD452ABB4}" dt="2026-01-07T09:52:43.166" v="616"/>
          <ac:spMkLst>
            <pc:docMk/>
            <pc:sldMk cId="696216524" sldId="2147375956"/>
            <ac:spMk id="7" creationId="{DD5FB4FD-6717-3A38-06CF-21D080036A38}"/>
          </ac:spMkLst>
        </pc:spChg>
        <pc:picChg chg="add mod">
          <ac:chgData name="Jithin Mohan [UNext]" userId="385dd2b6-d5cf-4598-8587-f7835bad5e0b" providerId="ADAL" clId="{E895FC88-B9ED-48F8-9240-BBEAD452ABB4}" dt="2026-01-07T09:53:03.619" v="622" actId="1076"/>
          <ac:picMkLst>
            <pc:docMk/>
            <pc:sldMk cId="696216524" sldId="2147375956"/>
            <ac:picMk id="3" creationId="{1816D041-E2EB-551F-9C26-1F8416AAB8E2}"/>
          </ac:picMkLst>
        </pc:picChg>
        <pc:picChg chg="del">
          <ac:chgData name="Jithin Mohan [UNext]" userId="385dd2b6-d5cf-4598-8587-f7835bad5e0b" providerId="ADAL" clId="{E895FC88-B9ED-48F8-9240-BBEAD452ABB4}" dt="2026-01-07T09:52:26.862" v="614" actId="478"/>
          <ac:picMkLst>
            <pc:docMk/>
            <pc:sldMk cId="696216524" sldId="2147375956"/>
            <ac:picMk id="6" creationId="{DF6F9E56-E96E-AFD6-6086-28C0C31ACB24}"/>
          </ac:picMkLst>
        </pc:picChg>
      </pc:sldChg>
      <pc:sldChg chg="addSp delSp modSp add mod">
        <pc:chgData name="Jithin Mohan [UNext]" userId="385dd2b6-d5cf-4598-8587-f7835bad5e0b" providerId="ADAL" clId="{E895FC88-B9ED-48F8-9240-BBEAD452ABB4}" dt="2026-01-07T09:54:56.021" v="650" actId="1076"/>
        <pc:sldMkLst>
          <pc:docMk/>
          <pc:sldMk cId="64469330" sldId="2147375957"/>
        </pc:sldMkLst>
        <pc:spChg chg="mod">
          <ac:chgData name="Jithin Mohan [UNext]" userId="385dd2b6-d5cf-4598-8587-f7835bad5e0b" providerId="ADAL" clId="{E895FC88-B9ED-48F8-9240-BBEAD452ABB4}" dt="2026-01-07T09:53:29.915" v="626"/>
          <ac:spMkLst>
            <pc:docMk/>
            <pc:sldMk cId="64469330" sldId="2147375957"/>
            <ac:spMk id="4" creationId="{3E7F068C-7331-4C29-982C-3427FBB32AA9}"/>
          </ac:spMkLst>
        </pc:spChg>
        <pc:spChg chg="del">
          <ac:chgData name="Jithin Mohan [UNext]" userId="385dd2b6-d5cf-4598-8587-f7835bad5e0b" providerId="ADAL" clId="{E895FC88-B9ED-48F8-9240-BBEAD452ABB4}" dt="2026-01-07T09:53:20.174" v="625" actId="478"/>
          <ac:spMkLst>
            <pc:docMk/>
            <pc:sldMk cId="64469330" sldId="2147375957"/>
            <ac:spMk id="5" creationId="{51CA8D05-A6A9-0142-C863-531061D238FC}"/>
          </ac:spMkLst>
        </pc:spChg>
        <pc:spChg chg="add mod">
          <ac:chgData name="Jithin Mohan [UNext]" userId="385dd2b6-d5cf-4598-8587-f7835bad5e0b" providerId="ADAL" clId="{E895FC88-B9ED-48F8-9240-BBEAD452ABB4}" dt="2026-01-07T09:54:52.278" v="649" actId="14100"/>
          <ac:spMkLst>
            <pc:docMk/>
            <pc:sldMk cId="64469330" sldId="2147375957"/>
            <ac:spMk id="6" creationId="{72A5DEA2-9AC1-3D0B-FC7D-09EEF544FAA5}"/>
          </ac:spMkLst>
        </pc:spChg>
        <pc:spChg chg="del">
          <ac:chgData name="Jithin Mohan [UNext]" userId="385dd2b6-d5cf-4598-8587-f7835bad5e0b" providerId="ADAL" clId="{E895FC88-B9ED-48F8-9240-BBEAD452ABB4}" dt="2026-01-07T09:53:20.174" v="625" actId="478"/>
          <ac:spMkLst>
            <pc:docMk/>
            <pc:sldMk cId="64469330" sldId="2147375957"/>
            <ac:spMk id="7" creationId="{DD5FB4FD-6717-3A38-06CF-21D080036A38}"/>
          </ac:spMkLst>
        </pc:spChg>
        <pc:graphicFrameChg chg="add mod modGraphic">
          <ac:chgData name="Jithin Mohan [UNext]" userId="385dd2b6-d5cf-4598-8587-f7835bad5e0b" providerId="ADAL" clId="{E895FC88-B9ED-48F8-9240-BBEAD452ABB4}" dt="2026-01-07T09:54:56.021" v="650" actId="1076"/>
          <ac:graphicFrameMkLst>
            <pc:docMk/>
            <pc:sldMk cId="64469330" sldId="2147375957"/>
            <ac:graphicFrameMk id="8" creationId="{388758F4-A9E2-7255-54F9-16B64AE8FE19}"/>
          </ac:graphicFrameMkLst>
        </pc:graphicFrameChg>
        <pc:picChg chg="del">
          <ac:chgData name="Jithin Mohan [UNext]" userId="385dd2b6-d5cf-4598-8587-f7835bad5e0b" providerId="ADAL" clId="{E895FC88-B9ED-48F8-9240-BBEAD452ABB4}" dt="2026-01-07T09:53:20.174" v="625" actId="478"/>
          <ac:picMkLst>
            <pc:docMk/>
            <pc:sldMk cId="64469330" sldId="2147375957"/>
            <ac:picMk id="3" creationId="{1816D041-E2EB-551F-9C26-1F8416AAB8E2}"/>
          </ac:picMkLst>
        </pc:picChg>
      </pc:sldChg>
      <pc:sldChg chg="addSp delSp modSp add mod">
        <pc:chgData name="Jithin Mohan [UNext]" userId="385dd2b6-d5cf-4598-8587-f7835bad5e0b" providerId="ADAL" clId="{E895FC88-B9ED-48F8-9240-BBEAD452ABB4}" dt="2026-01-07T09:56:12.602" v="672" actId="403"/>
        <pc:sldMkLst>
          <pc:docMk/>
          <pc:sldMk cId="4181294957" sldId="2147375958"/>
        </pc:sldMkLst>
        <pc:spChg chg="mod">
          <ac:chgData name="Jithin Mohan [UNext]" userId="385dd2b6-d5cf-4598-8587-f7835bad5e0b" providerId="ADAL" clId="{E895FC88-B9ED-48F8-9240-BBEAD452ABB4}" dt="2026-01-07T09:56:00.482" v="668" actId="14100"/>
          <ac:spMkLst>
            <pc:docMk/>
            <pc:sldMk cId="4181294957" sldId="2147375958"/>
            <ac:spMk id="2" creationId="{E51E1714-CAC4-C1BB-8F1F-B1155406404F}"/>
          </ac:spMkLst>
        </pc:spChg>
        <pc:spChg chg="add mod">
          <ac:chgData name="Jithin Mohan [UNext]" userId="385dd2b6-d5cf-4598-8587-f7835bad5e0b" providerId="ADAL" clId="{E895FC88-B9ED-48F8-9240-BBEAD452ABB4}" dt="2026-01-07T09:56:12.602" v="672" actId="403"/>
          <ac:spMkLst>
            <pc:docMk/>
            <pc:sldMk cId="4181294957" sldId="2147375958"/>
            <ac:spMk id="3" creationId="{35011EFB-B444-127B-3688-0C7BA0377124}"/>
          </ac:spMkLst>
        </pc:spChg>
        <pc:spChg chg="mod">
          <ac:chgData name="Jithin Mohan [UNext]" userId="385dd2b6-d5cf-4598-8587-f7835bad5e0b" providerId="ADAL" clId="{E895FC88-B9ED-48F8-9240-BBEAD452ABB4}" dt="2026-01-07T09:55:27.904" v="657" actId="20577"/>
          <ac:spMkLst>
            <pc:docMk/>
            <pc:sldMk cId="4181294957" sldId="2147375958"/>
            <ac:spMk id="4" creationId="{3E7F068C-7331-4C29-982C-3427FBB32AA9}"/>
          </ac:spMkLst>
        </pc:spChg>
        <pc:spChg chg="del">
          <ac:chgData name="Jithin Mohan [UNext]" userId="385dd2b6-d5cf-4598-8587-f7835bad5e0b" providerId="ADAL" clId="{E895FC88-B9ED-48F8-9240-BBEAD452ABB4}" dt="2026-01-07T09:55:15.242" v="653" actId="478"/>
          <ac:spMkLst>
            <pc:docMk/>
            <pc:sldMk cId="4181294957" sldId="2147375958"/>
            <ac:spMk id="6" creationId="{72A5DEA2-9AC1-3D0B-FC7D-09EEF544FAA5}"/>
          </ac:spMkLst>
        </pc:spChg>
        <pc:graphicFrameChg chg="del">
          <ac:chgData name="Jithin Mohan [UNext]" userId="385dd2b6-d5cf-4598-8587-f7835bad5e0b" providerId="ADAL" clId="{E895FC88-B9ED-48F8-9240-BBEAD452ABB4}" dt="2026-01-07T09:55:15.242" v="653" actId="478"/>
          <ac:graphicFrameMkLst>
            <pc:docMk/>
            <pc:sldMk cId="4181294957" sldId="2147375958"/>
            <ac:graphicFrameMk id="8" creationId="{388758F4-A9E2-7255-54F9-16B64AE8FE19}"/>
          </ac:graphicFrameMkLst>
        </pc:graphicFrameChg>
      </pc:sldChg>
      <pc:sldChg chg="addSp delSp modSp add mod">
        <pc:chgData name="Jithin Mohan [UNext]" userId="385dd2b6-d5cf-4598-8587-f7835bad5e0b" providerId="ADAL" clId="{E895FC88-B9ED-48F8-9240-BBEAD452ABB4}" dt="2026-01-07T09:56:42.839" v="678" actId="478"/>
        <pc:sldMkLst>
          <pc:docMk/>
          <pc:sldMk cId="644318416" sldId="2147375959"/>
        </pc:sldMkLst>
        <pc:spChg chg="del">
          <ac:chgData name="Jithin Mohan [UNext]" userId="385dd2b6-d5cf-4598-8587-f7835bad5e0b" providerId="ADAL" clId="{E895FC88-B9ED-48F8-9240-BBEAD452ABB4}" dt="2026-01-07T09:56:42.839" v="678" actId="478"/>
          <ac:spMkLst>
            <pc:docMk/>
            <pc:sldMk cId="644318416" sldId="2147375959"/>
            <ac:spMk id="2" creationId="{E51E1714-CAC4-C1BB-8F1F-B1155406404F}"/>
          </ac:spMkLst>
        </pc:spChg>
        <pc:spChg chg="del">
          <ac:chgData name="Jithin Mohan [UNext]" userId="385dd2b6-d5cf-4598-8587-f7835bad5e0b" providerId="ADAL" clId="{E895FC88-B9ED-48F8-9240-BBEAD452ABB4}" dt="2026-01-07T09:56:25.709" v="675" actId="478"/>
          <ac:spMkLst>
            <pc:docMk/>
            <pc:sldMk cId="644318416" sldId="2147375959"/>
            <ac:spMk id="3" creationId="{35011EFB-B444-127B-3688-0C7BA0377124}"/>
          </ac:spMkLst>
        </pc:spChg>
        <pc:spChg chg="mod">
          <ac:chgData name="Jithin Mohan [UNext]" userId="385dd2b6-d5cf-4598-8587-f7835bad5e0b" providerId="ADAL" clId="{E895FC88-B9ED-48F8-9240-BBEAD452ABB4}" dt="2026-01-07T09:56:33.801" v="676"/>
          <ac:spMkLst>
            <pc:docMk/>
            <pc:sldMk cId="644318416" sldId="2147375959"/>
            <ac:spMk id="4" creationId="{3E7F068C-7331-4C29-982C-3427FBB32AA9}"/>
          </ac:spMkLst>
        </pc:spChg>
        <pc:picChg chg="add mod">
          <ac:chgData name="Jithin Mohan [UNext]" userId="385dd2b6-d5cf-4598-8587-f7835bad5e0b" providerId="ADAL" clId="{E895FC88-B9ED-48F8-9240-BBEAD452ABB4}" dt="2026-01-07T09:56:39.680" v="677"/>
          <ac:picMkLst>
            <pc:docMk/>
            <pc:sldMk cId="644318416" sldId="2147375959"/>
            <ac:picMk id="5" creationId="{FAC93845-A1F8-44D5-CD78-41A9A347BEA5}"/>
          </ac:picMkLst>
        </pc:picChg>
      </pc:sldChg>
      <pc:sldChg chg="addSp delSp modSp add mod">
        <pc:chgData name="Jithin Mohan [UNext]" userId="385dd2b6-d5cf-4598-8587-f7835bad5e0b" providerId="ADAL" clId="{E895FC88-B9ED-48F8-9240-BBEAD452ABB4}" dt="2026-01-07T09:57:11.755" v="684" actId="1076"/>
        <pc:sldMkLst>
          <pc:docMk/>
          <pc:sldMk cId="737989346" sldId="2147375960"/>
        </pc:sldMkLst>
        <pc:spChg chg="mod">
          <ac:chgData name="Jithin Mohan [UNext]" userId="385dd2b6-d5cf-4598-8587-f7835bad5e0b" providerId="ADAL" clId="{E895FC88-B9ED-48F8-9240-BBEAD452ABB4}" dt="2026-01-07T09:57:01.935" v="682"/>
          <ac:spMkLst>
            <pc:docMk/>
            <pc:sldMk cId="737989346" sldId="2147375960"/>
            <ac:spMk id="4" creationId="{3E7F068C-7331-4C29-982C-3427FBB32AA9}"/>
          </ac:spMkLst>
        </pc:spChg>
        <pc:picChg chg="add mod">
          <ac:chgData name="Jithin Mohan [UNext]" userId="385dd2b6-d5cf-4598-8587-f7835bad5e0b" providerId="ADAL" clId="{E895FC88-B9ED-48F8-9240-BBEAD452ABB4}" dt="2026-01-07T09:57:11.755" v="684" actId="1076"/>
          <ac:picMkLst>
            <pc:docMk/>
            <pc:sldMk cId="737989346" sldId="2147375960"/>
            <ac:picMk id="2" creationId="{F9E98954-DF21-02FA-B187-6E7747BD8C80}"/>
          </ac:picMkLst>
        </pc:picChg>
        <pc:picChg chg="del">
          <ac:chgData name="Jithin Mohan [UNext]" userId="385dd2b6-d5cf-4598-8587-f7835bad5e0b" providerId="ADAL" clId="{E895FC88-B9ED-48F8-9240-BBEAD452ABB4}" dt="2026-01-07T09:56:52.947" v="681" actId="478"/>
          <ac:picMkLst>
            <pc:docMk/>
            <pc:sldMk cId="737989346" sldId="2147375960"/>
            <ac:picMk id="5" creationId="{FAC93845-A1F8-44D5-CD78-41A9A347BEA5}"/>
          </ac:picMkLst>
        </pc:picChg>
      </pc:sldChg>
      <pc:sldChg chg="addSp delSp modSp add mod">
        <pc:chgData name="Jithin Mohan [UNext]" userId="385dd2b6-d5cf-4598-8587-f7835bad5e0b" providerId="ADAL" clId="{E895FC88-B9ED-48F8-9240-BBEAD452ABB4}" dt="2026-01-07T09:57:37.062" v="691" actId="1076"/>
        <pc:sldMkLst>
          <pc:docMk/>
          <pc:sldMk cId="3618785121" sldId="2147375961"/>
        </pc:sldMkLst>
        <pc:spChg chg="mod">
          <ac:chgData name="Jithin Mohan [UNext]" userId="385dd2b6-d5cf-4598-8587-f7835bad5e0b" providerId="ADAL" clId="{E895FC88-B9ED-48F8-9240-BBEAD452ABB4}" dt="2026-01-07T09:57:26.930" v="688"/>
          <ac:spMkLst>
            <pc:docMk/>
            <pc:sldMk cId="3618785121" sldId="2147375961"/>
            <ac:spMk id="4" creationId="{3E7F068C-7331-4C29-982C-3427FBB32AA9}"/>
          </ac:spMkLst>
        </pc:spChg>
        <pc:picChg chg="del">
          <ac:chgData name="Jithin Mohan [UNext]" userId="385dd2b6-d5cf-4598-8587-f7835bad5e0b" providerId="ADAL" clId="{E895FC88-B9ED-48F8-9240-BBEAD452ABB4}" dt="2026-01-07T09:57:16.690" v="687" actId="478"/>
          <ac:picMkLst>
            <pc:docMk/>
            <pc:sldMk cId="3618785121" sldId="2147375961"/>
            <ac:picMk id="2" creationId="{F9E98954-DF21-02FA-B187-6E7747BD8C80}"/>
          </ac:picMkLst>
        </pc:picChg>
        <pc:picChg chg="add mod">
          <ac:chgData name="Jithin Mohan [UNext]" userId="385dd2b6-d5cf-4598-8587-f7835bad5e0b" providerId="ADAL" clId="{E895FC88-B9ED-48F8-9240-BBEAD452ABB4}" dt="2026-01-07T09:57:37.062" v="691" actId="1076"/>
          <ac:picMkLst>
            <pc:docMk/>
            <pc:sldMk cId="3618785121" sldId="2147375961"/>
            <ac:picMk id="3" creationId="{22E11D4F-4A92-029B-11B9-0867BF7B1A72}"/>
          </ac:picMkLst>
        </pc:picChg>
      </pc:sldChg>
      <pc:sldChg chg="addSp delSp modSp add mod">
        <pc:chgData name="Jithin Mohan [UNext]" userId="385dd2b6-d5cf-4598-8587-f7835bad5e0b" providerId="ADAL" clId="{E895FC88-B9ED-48F8-9240-BBEAD452ABB4}" dt="2026-01-07T09:58:07.017" v="698" actId="1076"/>
        <pc:sldMkLst>
          <pc:docMk/>
          <pc:sldMk cId="1634974596" sldId="2147375962"/>
        </pc:sldMkLst>
        <pc:spChg chg="mod">
          <ac:chgData name="Jithin Mohan [UNext]" userId="385dd2b6-d5cf-4598-8587-f7835bad5e0b" providerId="ADAL" clId="{E895FC88-B9ED-48F8-9240-BBEAD452ABB4}" dt="2026-01-07T09:57:55.663" v="695"/>
          <ac:spMkLst>
            <pc:docMk/>
            <pc:sldMk cId="1634974596" sldId="2147375962"/>
            <ac:spMk id="4" creationId="{3E7F068C-7331-4C29-982C-3427FBB32AA9}"/>
          </ac:spMkLst>
        </pc:spChg>
        <pc:picChg chg="add mod">
          <ac:chgData name="Jithin Mohan [UNext]" userId="385dd2b6-d5cf-4598-8587-f7835bad5e0b" providerId="ADAL" clId="{E895FC88-B9ED-48F8-9240-BBEAD452ABB4}" dt="2026-01-07T09:58:07.017" v="698" actId="1076"/>
          <ac:picMkLst>
            <pc:docMk/>
            <pc:sldMk cId="1634974596" sldId="2147375962"/>
            <ac:picMk id="2" creationId="{4D114FCF-B269-63DB-38CD-D2061722F6FE}"/>
          </ac:picMkLst>
        </pc:picChg>
        <pc:picChg chg="del">
          <ac:chgData name="Jithin Mohan [UNext]" userId="385dd2b6-d5cf-4598-8587-f7835bad5e0b" providerId="ADAL" clId="{E895FC88-B9ED-48F8-9240-BBEAD452ABB4}" dt="2026-01-07T09:57:43.902" v="694" actId="478"/>
          <ac:picMkLst>
            <pc:docMk/>
            <pc:sldMk cId="1634974596" sldId="2147375962"/>
            <ac:picMk id="3" creationId="{22E11D4F-4A92-029B-11B9-0867BF7B1A72}"/>
          </ac:picMkLst>
        </pc:picChg>
      </pc:sldChg>
      <pc:sldChg chg="addSp delSp modSp add mod">
        <pc:chgData name="Jithin Mohan [UNext]" userId="385dd2b6-d5cf-4598-8587-f7835bad5e0b" providerId="ADAL" clId="{E895FC88-B9ED-48F8-9240-BBEAD452ABB4}" dt="2026-01-07T09:58:32.985" v="705" actId="1076"/>
        <pc:sldMkLst>
          <pc:docMk/>
          <pc:sldMk cId="1436404260" sldId="2147375963"/>
        </pc:sldMkLst>
        <pc:spChg chg="mod">
          <ac:chgData name="Jithin Mohan [UNext]" userId="385dd2b6-d5cf-4598-8587-f7835bad5e0b" providerId="ADAL" clId="{E895FC88-B9ED-48F8-9240-BBEAD452ABB4}" dt="2026-01-07T09:58:20.687" v="702"/>
          <ac:spMkLst>
            <pc:docMk/>
            <pc:sldMk cId="1436404260" sldId="2147375963"/>
            <ac:spMk id="4" creationId="{3E7F068C-7331-4C29-982C-3427FBB32AA9}"/>
          </ac:spMkLst>
        </pc:spChg>
        <pc:picChg chg="del">
          <ac:chgData name="Jithin Mohan [UNext]" userId="385dd2b6-d5cf-4598-8587-f7835bad5e0b" providerId="ADAL" clId="{E895FC88-B9ED-48F8-9240-BBEAD452ABB4}" dt="2026-01-07T09:58:12.400" v="701" actId="478"/>
          <ac:picMkLst>
            <pc:docMk/>
            <pc:sldMk cId="1436404260" sldId="2147375963"/>
            <ac:picMk id="2" creationId="{4D114FCF-B269-63DB-38CD-D2061722F6FE}"/>
          </ac:picMkLst>
        </pc:picChg>
        <pc:picChg chg="add mod">
          <ac:chgData name="Jithin Mohan [UNext]" userId="385dd2b6-d5cf-4598-8587-f7835bad5e0b" providerId="ADAL" clId="{E895FC88-B9ED-48F8-9240-BBEAD452ABB4}" dt="2026-01-07T09:58:32.985" v="705" actId="1076"/>
          <ac:picMkLst>
            <pc:docMk/>
            <pc:sldMk cId="1436404260" sldId="2147375963"/>
            <ac:picMk id="3" creationId="{711F2C40-2C1D-2EF7-52FC-B3B735130A82}"/>
          </ac:picMkLst>
        </pc:picChg>
      </pc:sldChg>
      <pc:sldChg chg="addSp delSp modSp add mod">
        <pc:chgData name="Jithin Mohan [UNext]" userId="385dd2b6-d5cf-4598-8587-f7835bad5e0b" providerId="ADAL" clId="{E895FC88-B9ED-48F8-9240-BBEAD452ABB4}" dt="2026-01-08T12:02:24.244" v="1490" actId="1036"/>
        <pc:sldMkLst>
          <pc:docMk/>
          <pc:sldMk cId="269976863" sldId="2147375964"/>
        </pc:sldMkLst>
        <pc:spChg chg="mod">
          <ac:chgData name="Jithin Mohan [UNext]" userId="385dd2b6-d5cf-4598-8587-f7835bad5e0b" providerId="ADAL" clId="{E895FC88-B9ED-48F8-9240-BBEAD452ABB4}" dt="2026-01-07T09:58:55.962" v="709"/>
          <ac:spMkLst>
            <pc:docMk/>
            <pc:sldMk cId="269976863" sldId="2147375964"/>
            <ac:spMk id="4" creationId="{3E7F068C-7331-4C29-982C-3427FBB32AA9}"/>
          </ac:spMkLst>
        </pc:spChg>
        <pc:picChg chg="add mod">
          <ac:chgData name="Jithin Mohan [UNext]" userId="385dd2b6-d5cf-4598-8587-f7835bad5e0b" providerId="ADAL" clId="{E895FC88-B9ED-48F8-9240-BBEAD452ABB4}" dt="2026-01-08T12:02:24.244" v="1490" actId="1036"/>
          <ac:picMkLst>
            <pc:docMk/>
            <pc:sldMk cId="269976863" sldId="2147375964"/>
            <ac:picMk id="2" creationId="{2FA68A16-F83D-9D20-DE61-C70E25366AA1}"/>
          </ac:picMkLst>
        </pc:picChg>
        <pc:picChg chg="del">
          <ac:chgData name="Jithin Mohan [UNext]" userId="385dd2b6-d5cf-4598-8587-f7835bad5e0b" providerId="ADAL" clId="{E895FC88-B9ED-48F8-9240-BBEAD452ABB4}" dt="2026-01-07T09:58:47.101" v="708" actId="478"/>
          <ac:picMkLst>
            <pc:docMk/>
            <pc:sldMk cId="269976863" sldId="2147375964"/>
            <ac:picMk id="3" creationId="{711F2C40-2C1D-2EF7-52FC-B3B735130A82}"/>
          </ac:picMkLst>
        </pc:picChg>
      </pc:sldChg>
      <pc:sldChg chg="modSp add mod ord">
        <pc:chgData name="Jithin Mohan [UNext]" userId="385dd2b6-d5cf-4598-8587-f7835bad5e0b" providerId="ADAL" clId="{E895FC88-B9ED-48F8-9240-BBEAD452ABB4}" dt="2026-01-07T10:01:34.096" v="735"/>
        <pc:sldMkLst>
          <pc:docMk/>
          <pc:sldMk cId="1717711651" sldId="2147375965"/>
        </pc:sldMkLst>
        <pc:spChg chg="mod">
          <ac:chgData name="Jithin Mohan [UNext]" userId="385dd2b6-d5cf-4598-8587-f7835bad5e0b" providerId="ADAL" clId="{E895FC88-B9ED-48F8-9240-BBEAD452ABB4}" dt="2026-01-07T10:00:49.920" v="731" actId="1076"/>
          <ac:spMkLst>
            <pc:docMk/>
            <pc:sldMk cId="1717711651" sldId="2147375965"/>
            <ac:spMk id="8" creationId="{F652B623-5918-340B-CD66-D9BB3D0EE86A}"/>
          </ac:spMkLst>
        </pc:spChg>
      </pc:sldChg>
      <pc:sldChg chg="addSp delSp modSp add mod">
        <pc:chgData name="Jithin Mohan [UNext]" userId="385dd2b6-d5cf-4598-8587-f7835bad5e0b" providerId="ADAL" clId="{E895FC88-B9ED-48F8-9240-BBEAD452ABB4}" dt="2026-01-07T10:02:00.169" v="738"/>
        <pc:sldMkLst>
          <pc:docMk/>
          <pc:sldMk cId="3458512504" sldId="2147375966"/>
        </pc:sldMkLst>
        <pc:spChg chg="mod">
          <ac:chgData name="Jithin Mohan [UNext]" userId="385dd2b6-d5cf-4598-8587-f7835bad5e0b" providerId="ADAL" clId="{E895FC88-B9ED-48F8-9240-BBEAD452ABB4}" dt="2026-01-07T10:01:52.745" v="737"/>
          <ac:spMkLst>
            <pc:docMk/>
            <pc:sldMk cId="3458512504" sldId="2147375966"/>
            <ac:spMk id="3" creationId="{1A82F57B-A0FD-4B62-4FBE-C4DDF244DC1F}"/>
          </ac:spMkLst>
        </pc:spChg>
        <pc:picChg chg="add mod">
          <ac:chgData name="Jithin Mohan [UNext]" userId="385dd2b6-d5cf-4598-8587-f7835bad5e0b" providerId="ADAL" clId="{E895FC88-B9ED-48F8-9240-BBEAD452ABB4}" dt="2026-01-07T10:02:00.169" v="738"/>
          <ac:picMkLst>
            <pc:docMk/>
            <pc:sldMk cId="3458512504" sldId="2147375966"/>
            <ac:picMk id="2" creationId="{858787C1-A534-2989-2BF1-C06B3511B9E7}"/>
          </ac:picMkLst>
        </pc:picChg>
        <pc:picChg chg="del">
          <ac:chgData name="Jithin Mohan [UNext]" userId="385dd2b6-d5cf-4598-8587-f7835bad5e0b" providerId="ADAL" clId="{E895FC88-B9ED-48F8-9240-BBEAD452ABB4}" dt="2026-01-07T10:01:36.643" v="736" actId="478"/>
          <ac:picMkLst>
            <pc:docMk/>
            <pc:sldMk cId="3458512504" sldId="2147375966"/>
            <ac:picMk id="4" creationId="{CC82882F-0FC7-B3EB-AA58-A24A828A7F3A}"/>
          </ac:picMkLst>
        </pc:picChg>
      </pc:sldChg>
      <pc:sldChg chg="addSp delSp modSp add mod">
        <pc:chgData name="Jithin Mohan [UNext]" userId="385dd2b6-d5cf-4598-8587-f7835bad5e0b" providerId="ADAL" clId="{E895FC88-B9ED-48F8-9240-BBEAD452ABB4}" dt="2026-01-07T10:02:35.306" v="745" actId="1076"/>
        <pc:sldMkLst>
          <pc:docMk/>
          <pc:sldMk cId="3657961223" sldId="2147375967"/>
        </pc:sldMkLst>
        <pc:spChg chg="mod">
          <ac:chgData name="Jithin Mohan [UNext]" userId="385dd2b6-d5cf-4598-8587-f7835bad5e0b" providerId="ADAL" clId="{E895FC88-B9ED-48F8-9240-BBEAD452ABB4}" dt="2026-01-07T10:02:19.887" v="742"/>
          <ac:spMkLst>
            <pc:docMk/>
            <pc:sldMk cId="3657961223" sldId="2147375967"/>
            <ac:spMk id="3" creationId="{1A82F57B-A0FD-4B62-4FBE-C4DDF244DC1F}"/>
          </ac:spMkLst>
        </pc:spChg>
        <pc:spChg chg="mod">
          <ac:chgData name="Jithin Mohan [UNext]" userId="385dd2b6-d5cf-4598-8587-f7835bad5e0b" providerId="ADAL" clId="{E895FC88-B9ED-48F8-9240-BBEAD452ABB4}" dt="2026-01-07T10:02:31.006" v="744"/>
          <ac:spMkLst>
            <pc:docMk/>
            <pc:sldMk cId="3657961223" sldId="2147375967"/>
            <ac:spMk id="5" creationId="{3AE19793-87E4-43F1-CFF1-C4070686AC28}"/>
          </ac:spMkLst>
        </pc:spChg>
        <pc:spChg chg="mod">
          <ac:chgData name="Jithin Mohan [UNext]" userId="385dd2b6-d5cf-4598-8587-f7835bad5e0b" providerId="ADAL" clId="{E895FC88-B9ED-48F8-9240-BBEAD452ABB4}" dt="2026-01-07T10:02:31.006" v="744"/>
          <ac:spMkLst>
            <pc:docMk/>
            <pc:sldMk cId="3657961223" sldId="2147375967"/>
            <ac:spMk id="6" creationId="{62B7D500-6469-BD44-B428-51B3B21BB105}"/>
          </ac:spMkLst>
        </pc:spChg>
        <pc:spChg chg="mod">
          <ac:chgData name="Jithin Mohan [UNext]" userId="385dd2b6-d5cf-4598-8587-f7835bad5e0b" providerId="ADAL" clId="{E895FC88-B9ED-48F8-9240-BBEAD452ABB4}" dt="2026-01-07T10:02:31.006" v="744"/>
          <ac:spMkLst>
            <pc:docMk/>
            <pc:sldMk cId="3657961223" sldId="2147375967"/>
            <ac:spMk id="7" creationId="{D1F46A4B-0F5E-4F36-E5C0-171F04F5F28C}"/>
          </ac:spMkLst>
        </pc:spChg>
        <pc:spChg chg="mod">
          <ac:chgData name="Jithin Mohan [UNext]" userId="385dd2b6-d5cf-4598-8587-f7835bad5e0b" providerId="ADAL" clId="{E895FC88-B9ED-48F8-9240-BBEAD452ABB4}" dt="2026-01-07T10:02:31.006" v="744"/>
          <ac:spMkLst>
            <pc:docMk/>
            <pc:sldMk cId="3657961223" sldId="2147375967"/>
            <ac:spMk id="8" creationId="{AE130139-5391-D058-30FC-0A82B501FB03}"/>
          </ac:spMkLst>
        </pc:spChg>
        <pc:grpChg chg="add mod">
          <ac:chgData name="Jithin Mohan [UNext]" userId="385dd2b6-d5cf-4598-8587-f7835bad5e0b" providerId="ADAL" clId="{E895FC88-B9ED-48F8-9240-BBEAD452ABB4}" dt="2026-01-07T10:02:35.306" v="745" actId="1076"/>
          <ac:grpSpMkLst>
            <pc:docMk/>
            <pc:sldMk cId="3657961223" sldId="2147375967"/>
            <ac:grpSpMk id="4" creationId="{0FE190EF-B772-A578-0944-4E9DFA48DFED}"/>
          </ac:grpSpMkLst>
        </pc:grpChg>
        <pc:picChg chg="del">
          <ac:chgData name="Jithin Mohan [UNext]" userId="385dd2b6-d5cf-4598-8587-f7835bad5e0b" providerId="ADAL" clId="{E895FC88-B9ED-48F8-9240-BBEAD452ABB4}" dt="2026-01-07T10:02:10.398" v="741" actId="478"/>
          <ac:picMkLst>
            <pc:docMk/>
            <pc:sldMk cId="3657961223" sldId="2147375967"/>
            <ac:picMk id="2" creationId="{858787C1-A534-2989-2BF1-C06B3511B9E7}"/>
          </ac:picMkLst>
        </pc:picChg>
        <pc:picChg chg="mod">
          <ac:chgData name="Jithin Mohan [UNext]" userId="385dd2b6-d5cf-4598-8587-f7835bad5e0b" providerId="ADAL" clId="{E895FC88-B9ED-48F8-9240-BBEAD452ABB4}" dt="2026-01-07T10:02:31.006" v="744"/>
          <ac:picMkLst>
            <pc:docMk/>
            <pc:sldMk cId="3657961223" sldId="2147375967"/>
            <ac:picMk id="9" creationId="{682A789F-840D-DA01-FBE5-33E378C45F7B}"/>
          </ac:picMkLst>
        </pc:picChg>
      </pc:sldChg>
      <pc:sldChg chg="addSp delSp modSp add mod">
        <pc:chgData name="Jithin Mohan [UNext]" userId="385dd2b6-d5cf-4598-8587-f7835bad5e0b" providerId="ADAL" clId="{E895FC88-B9ED-48F8-9240-BBEAD452ABB4}" dt="2026-01-07T10:03:11.283" v="752"/>
        <pc:sldMkLst>
          <pc:docMk/>
          <pc:sldMk cId="217705136" sldId="2147375968"/>
        </pc:sldMkLst>
        <pc:spChg chg="add mod">
          <ac:chgData name="Jithin Mohan [UNext]" userId="385dd2b6-d5cf-4598-8587-f7835bad5e0b" providerId="ADAL" clId="{E895FC88-B9ED-48F8-9240-BBEAD452ABB4}" dt="2026-01-07T10:03:11.283" v="752"/>
          <ac:spMkLst>
            <pc:docMk/>
            <pc:sldMk cId="217705136" sldId="2147375968"/>
            <ac:spMk id="2" creationId="{85C53A91-9D3C-8E09-E646-AF0EB9E1BE90}"/>
          </ac:spMkLst>
        </pc:spChg>
        <pc:spChg chg="mod">
          <ac:chgData name="Jithin Mohan [UNext]" userId="385dd2b6-d5cf-4598-8587-f7835bad5e0b" providerId="ADAL" clId="{E895FC88-B9ED-48F8-9240-BBEAD452ABB4}" dt="2026-01-07T10:03:04.423" v="751"/>
          <ac:spMkLst>
            <pc:docMk/>
            <pc:sldMk cId="217705136" sldId="2147375968"/>
            <ac:spMk id="3" creationId="{1A82F57B-A0FD-4B62-4FBE-C4DDF244DC1F}"/>
          </ac:spMkLst>
        </pc:spChg>
        <pc:spChg chg="add mod">
          <ac:chgData name="Jithin Mohan [UNext]" userId="385dd2b6-d5cf-4598-8587-f7835bad5e0b" providerId="ADAL" clId="{E895FC88-B9ED-48F8-9240-BBEAD452ABB4}" dt="2026-01-07T10:03:11.283" v="752"/>
          <ac:spMkLst>
            <pc:docMk/>
            <pc:sldMk cId="217705136" sldId="2147375968"/>
            <ac:spMk id="10" creationId="{C3EE9E3B-4DC4-D4A6-5D53-F7C433035BCF}"/>
          </ac:spMkLst>
        </pc:spChg>
        <pc:spChg chg="add mod">
          <ac:chgData name="Jithin Mohan [UNext]" userId="385dd2b6-d5cf-4598-8587-f7835bad5e0b" providerId="ADAL" clId="{E895FC88-B9ED-48F8-9240-BBEAD452ABB4}" dt="2026-01-07T10:03:11.283" v="752"/>
          <ac:spMkLst>
            <pc:docMk/>
            <pc:sldMk cId="217705136" sldId="2147375968"/>
            <ac:spMk id="11" creationId="{99426737-F035-398D-926F-ADD537421E8C}"/>
          </ac:spMkLst>
        </pc:spChg>
        <pc:grpChg chg="del">
          <ac:chgData name="Jithin Mohan [UNext]" userId="385dd2b6-d5cf-4598-8587-f7835bad5e0b" providerId="ADAL" clId="{E895FC88-B9ED-48F8-9240-BBEAD452ABB4}" dt="2026-01-07T10:02:52.974" v="750" actId="478"/>
          <ac:grpSpMkLst>
            <pc:docMk/>
            <pc:sldMk cId="217705136" sldId="2147375968"/>
            <ac:grpSpMk id="4" creationId="{0FE190EF-B772-A578-0944-4E9DFA48DFED}"/>
          </ac:grpSpMkLst>
        </pc:grpChg>
        <pc:picChg chg="add mod">
          <ac:chgData name="Jithin Mohan [UNext]" userId="385dd2b6-d5cf-4598-8587-f7835bad5e0b" providerId="ADAL" clId="{E895FC88-B9ED-48F8-9240-BBEAD452ABB4}" dt="2026-01-07T10:03:11.283" v="752"/>
          <ac:picMkLst>
            <pc:docMk/>
            <pc:sldMk cId="217705136" sldId="2147375968"/>
            <ac:picMk id="12" creationId="{B26CC733-82F5-4F26-981C-F8A655F4A406}"/>
          </ac:picMkLst>
        </pc:picChg>
      </pc:sldChg>
      <pc:sldChg chg="addSp delSp modSp add mod">
        <pc:chgData name="Jithin Mohan [UNext]" userId="385dd2b6-d5cf-4598-8587-f7835bad5e0b" providerId="ADAL" clId="{E895FC88-B9ED-48F8-9240-BBEAD452ABB4}" dt="2026-01-07T10:03:46.269" v="760"/>
        <pc:sldMkLst>
          <pc:docMk/>
          <pc:sldMk cId="1636441700" sldId="2147375969"/>
        </pc:sldMkLst>
        <pc:spChg chg="del">
          <ac:chgData name="Jithin Mohan [UNext]" userId="385dd2b6-d5cf-4598-8587-f7835bad5e0b" providerId="ADAL" clId="{E895FC88-B9ED-48F8-9240-BBEAD452ABB4}" dt="2026-01-07T10:03:21.160" v="755" actId="478"/>
          <ac:spMkLst>
            <pc:docMk/>
            <pc:sldMk cId="1636441700" sldId="2147375969"/>
            <ac:spMk id="2" creationId="{85C53A91-9D3C-8E09-E646-AF0EB9E1BE90}"/>
          </ac:spMkLst>
        </pc:spChg>
        <pc:spChg chg="mod">
          <ac:chgData name="Jithin Mohan [UNext]" userId="385dd2b6-d5cf-4598-8587-f7835bad5e0b" providerId="ADAL" clId="{E895FC88-B9ED-48F8-9240-BBEAD452ABB4}" dt="2026-01-07T10:03:36.639" v="758" actId="404"/>
          <ac:spMkLst>
            <pc:docMk/>
            <pc:sldMk cId="1636441700" sldId="2147375969"/>
            <ac:spMk id="3" creationId="{1A82F57B-A0FD-4B62-4FBE-C4DDF244DC1F}"/>
          </ac:spMkLst>
        </pc:spChg>
        <pc:spChg chg="mod">
          <ac:chgData name="Jithin Mohan [UNext]" userId="385dd2b6-d5cf-4598-8587-f7835bad5e0b" providerId="ADAL" clId="{E895FC88-B9ED-48F8-9240-BBEAD452ABB4}" dt="2026-01-07T10:03:46.269" v="760"/>
          <ac:spMkLst>
            <pc:docMk/>
            <pc:sldMk cId="1636441700" sldId="2147375969"/>
            <ac:spMk id="5" creationId="{D97A5455-80AB-4927-799E-684D8F10061E}"/>
          </ac:spMkLst>
        </pc:spChg>
        <pc:spChg chg="mod">
          <ac:chgData name="Jithin Mohan [UNext]" userId="385dd2b6-d5cf-4598-8587-f7835bad5e0b" providerId="ADAL" clId="{E895FC88-B9ED-48F8-9240-BBEAD452ABB4}" dt="2026-01-07T10:03:46.269" v="760"/>
          <ac:spMkLst>
            <pc:docMk/>
            <pc:sldMk cId="1636441700" sldId="2147375969"/>
            <ac:spMk id="6" creationId="{E37B5330-A3E9-467D-6D2E-A6E96DE8914E}"/>
          </ac:spMkLst>
        </pc:spChg>
        <pc:spChg chg="mod">
          <ac:chgData name="Jithin Mohan [UNext]" userId="385dd2b6-d5cf-4598-8587-f7835bad5e0b" providerId="ADAL" clId="{E895FC88-B9ED-48F8-9240-BBEAD452ABB4}" dt="2026-01-07T10:03:46.269" v="760"/>
          <ac:spMkLst>
            <pc:docMk/>
            <pc:sldMk cId="1636441700" sldId="2147375969"/>
            <ac:spMk id="8" creationId="{303FA99D-CA35-6326-D09A-1F9FBA17847D}"/>
          </ac:spMkLst>
        </pc:spChg>
        <pc:spChg chg="mod">
          <ac:chgData name="Jithin Mohan [UNext]" userId="385dd2b6-d5cf-4598-8587-f7835bad5e0b" providerId="ADAL" clId="{E895FC88-B9ED-48F8-9240-BBEAD452ABB4}" dt="2026-01-07T10:03:46.269" v="760"/>
          <ac:spMkLst>
            <pc:docMk/>
            <pc:sldMk cId="1636441700" sldId="2147375969"/>
            <ac:spMk id="9" creationId="{CF1E0476-3A50-C5BE-CFFD-2BBFB30E2BFA}"/>
          </ac:spMkLst>
        </pc:spChg>
        <pc:spChg chg="del">
          <ac:chgData name="Jithin Mohan [UNext]" userId="385dd2b6-d5cf-4598-8587-f7835bad5e0b" providerId="ADAL" clId="{E895FC88-B9ED-48F8-9240-BBEAD452ABB4}" dt="2026-01-07T10:03:21.160" v="755" actId="478"/>
          <ac:spMkLst>
            <pc:docMk/>
            <pc:sldMk cId="1636441700" sldId="2147375969"/>
            <ac:spMk id="10" creationId="{C3EE9E3B-4DC4-D4A6-5D53-F7C433035BCF}"/>
          </ac:spMkLst>
        </pc:spChg>
        <pc:spChg chg="del">
          <ac:chgData name="Jithin Mohan [UNext]" userId="385dd2b6-d5cf-4598-8587-f7835bad5e0b" providerId="ADAL" clId="{E895FC88-B9ED-48F8-9240-BBEAD452ABB4}" dt="2026-01-07T10:03:21.160" v="755" actId="478"/>
          <ac:spMkLst>
            <pc:docMk/>
            <pc:sldMk cId="1636441700" sldId="2147375969"/>
            <ac:spMk id="11" creationId="{99426737-F035-398D-926F-ADD537421E8C}"/>
          </ac:spMkLst>
        </pc:spChg>
        <pc:grpChg chg="add mod">
          <ac:chgData name="Jithin Mohan [UNext]" userId="385dd2b6-d5cf-4598-8587-f7835bad5e0b" providerId="ADAL" clId="{E895FC88-B9ED-48F8-9240-BBEAD452ABB4}" dt="2026-01-07T10:03:46.269" v="760"/>
          <ac:grpSpMkLst>
            <pc:docMk/>
            <pc:sldMk cId="1636441700" sldId="2147375969"/>
            <ac:grpSpMk id="4" creationId="{1E638166-77ED-4382-18E5-5E9D8DAC1C2E}"/>
          </ac:grpSpMkLst>
        </pc:grpChg>
        <pc:picChg chg="mod">
          <ac:chgData name="Jithin Mohan [UNext]" userId="385dd2b6-d5cf-4598-8587-f7835bad5e0b" providerId="ADAL" clId="{E895FC88-B9ED-48F8-9240-BBEAD452ABB4}" dt="2026-01-07T10:03:46.269" v="760"/>
          <ac:picMkLst>
            <pc:docMk/>
            <pc:sldMk cId="1636441700" sldId="2147375969"/>
            <ac:picMk id="7" creationId="{81B4892F-3809-F829-EC6B-E4B800B351F6}"/>
          </ac:picMkLst>
        </pc:picChg>
        <pc:picChg chg="del">
          <ac:chgData name="Jithin Mohan [UNext]" userId="385dd2b6-d5cf-4598-8587-f7835bad5e0b" providerId="ADAL" clId="{E895FC88-B9ED-48F8-9240-BBEAD452ABB4}" dt="2026-01-07T10:03:21.160" v="755" actId="478"/>
          <ac:picMkLst>
            <pc:docMk/>
            <pc:sldMk cId="1636441700" sldId="2147375969"/>
            <ac:picMk id="12" creationId="{B26CC733-82F5-4F26-981C-F8A655F4A406}"/>
          </ac:picMkLst>
        </pc:picChg>
      </pc:sldChg>
      <pc:sldChg chg="addSp delSp modSp add mod">
        <pc:chgData name="Jithin Mohan [UNext]" userId="385dd2b6-d5cf-4598-8587-f7835bad5e0b" providerId="ADAL" clId="{E895FC88-B9ED-48F8-9240-BBEAD452ABB4}" dt="2026-01-07T10:04:25.040" v="771" actId="1035"/>
        <pc:sldMkLst>
          <pc:docMk/>
          <pc:sldMk cId="2819308259" sldId="2147375970"/>
        </pc:sldMkLst>
        <pc:spChg chg="mod">
          <ac:chgData name="Jithin Mohan [UNext]" userId="385dd2b6-d5cf-4598-8587-f7835bad5e0b" providerId="ADAL" clId="{E895FC88-B9ED-48F8-9240-BBEAD452ABB4}" dt="2026-01-07T10:04:10.275" v="764"/>
          <ac:spMkLst>
            <pc:docMk/>
            <pc:sldMk cId="2819308259" sldId="2147375970"/>
            <ac:spMk id="3" creationId="{1A82F57B-A0FD-4B62-4FBE-C4DDF244DC1F}"/>
          </ac:spMkLst>
        </pc:spChg>
        <pc:spChg chg="mod">
          <ac:chgData name="Jithin Mohan [UNext]" userId="385dd2b6-d5cf-4598-8587-f7835bad5e0b" providerId="ADAL" clId="{E895FC88-B9ED-48F8-9240-BBEAD452ABB4}" dt="2026-01-07T10:04:19.537" v="766"/>
          <ac:spMkLst>
            <pc:docMk/>
            <pc:sldMk cId="2819308259" sldId="2147375970"/>
            <ac:spMk id="10" creationId="{5A601D1A-AE0D-B93B-4723-34D7835EEA18}"/>
          </ac:spMkLst>
        </pc:spChg>
        <pc:spChg chg="mod">
          <ac:chgData name="Jithin Mohan [UNext]" userId="385dd2b6-d5cf-4598-8587-f7835bad5e0b" providerId="ADAL" clId="{E895FC88-B9ED-48F8-9240-BBEAD452ABB4}" dt="2026-01-07T10:04:19.537" v="766"/>
          <ac:spMkLst>
            <pc:docMk/>
            <pc:sldMk cId="2819308259" sldId="2147375970"/>
            <ac:spMk id="12" creationId="{9CA32649-A982-DD85-659B-57BB857C1DB3}"/>
          </ac:spMkLst>
        </pc:spChg>
        <pc:spChg chg="mod">
          <ac:chgData name="Jithin Mohan [UNext]" userId="385dd2b6-d5cf-4598-8587-f7835bad5e0b" providerId="ADAL" clId="{E895FC88-B9ED-48F8-9240-BBEAD452ABB4}" dt="2026-01-07T10:04:19.537" v="766"/>
          <ac:spMkLst>
            <pc:docMk/>
            <pc:sldMk cId="2819308259" sldId="2147375970"/>
            <ac:spMk id="13" creationId="{ECEC41C4-2958-6456-1C34-F4C769079E87}"/>
          </ac:spMkLst>
        </pc:spChg>
        <pc:grpChg chg="add mod">
          <ac:chgData name="Jithin Mohan [UNext]" userId="385dd2b6-d5cf-4598-8587-f7835bad5e0b" providerId="ADAL" clId="{E895FC88-B9ED-48F8-9240-BBEAD452ABB4}" dt="2026-01-07T10:04:25.040" v="771" actId="1035"/>
          <ac:grpSpMkLst>
            <pc:docMk/>
            <pc:sldMk cId="2819308259" sldId="2147375970"/>
            <ac:grpSpMk id="2" creationId="{380C07B9-00F8-51A6-9890-4FA36C0EFAFC}"/>
          </ac:grpSpMkLst>
        </pc:grpChg>
        <pc:grpChg chg="del">
          <ac:chgData name="Jithin Mohan [UNext]" userId="385dd2b6-d5cf-4598-8587-f7835bad5e0b" providerId="ADAL" clId="{E895FC88-B9ED-48F8-9240-BBEAD452ABB4}" dt="2026-01-07T10:03:58.589" v="763" actId="478"/>
          <ac:grpSpMkLst>
            <pc:docMk/>
            <pc:sldMk cId="2819308259" sldId="2147375970"/>
            <ac:grpSpMk id="4" creationId="{1E638166-77ED-4382-18E5-5E9D8DAC1C2E}"/>
          </ac:grpSpMkLst>
        </pc:grpChg>
        <pc:picChg chg="mod">
          <ac:chgData name="Jithin Mohan [UNext]" userId="385dd2b6-d5cf-4598-8587-f7835bad5e0b" providerId="ADAL" clId="{E895FC88-B9ED-48F8-9240-BBEAD452ABB4}" dt="2026-01-07T10:04:19.537" v="766"/>
          <ac:picMkLst>
            <pc:docMk/>
            <pc:sldMk cId="2819308259" sldId="2147375970"/>
            <ac:picMk id="11" creationId="{1603930F-057A-493E-8EB8-F55FA8BD841D}"/>
          </ac:picMkLst>
        </pc:picChg>
      </pc:sldChg>
      <pc:sldChg chg="modSp add mod ord">
        <pc:chgData name="Jithin Mohan [UNext]" userId="385dd2b6-d5cf-4598-8587-f7835bad5e0b" providerId="ADAL" clId="{E895FC88-B9ED-48F8-9240-BBEAD452ABB4}" dt="2026-01-07T10:06:20.844" v="788"/>
        <pc:sldMkLst>
          <pc:docMk/>
          <pc:sldMk cId="2777523822" sldId="2147375971"/>
        </pc:sldMkLst>
        <pc:spChg chg="mod">
          <ac:chgData name="Jithin Mohan [UNext]" userId="385dd2b6-d5cf-4598-8587-f7835bad5e0b" providerId="ADAL" clId="{E895FC88-B9ED-48F8-9240-BBEAD452ABB4}" dt="2026-01-07T10:06:14.872" v="784" actId="1076"/>
          <ac:spMkLst>
            <pc:docMk/>
            <pc:sldMk cId="2777523822" sldId="2147375971"/>
            <ac:spMk id="6" creationId="{4785C793-8657-7721-B848-775D6E8EAEF7}"/>
          </ac:spMkLst>
        </pc:spChg>
        <pc:spChg chg="mod">
          <ac:chgData name="Jithin Mohan [UNext]" userId="385dd2b6-d5cf-4598-8587-f7835bad5e0b" providerId="ADAL" clId="{E895FC88-B9ED-48F8-9240-BBEAD452ABB4}" dt="2026-01-07T10:06:01.852" v="782" actId="20577"/>
          <ac:spMkLst>
            <pc:docMk/>
            <pc:sldMk cId="2777523822" sldId="2147375971"/>
            <ac:spMk id="8" creationId="{F652B623-5918-340B-CD66-D9BB3D0EE86A}"/>
          </ac:spMkLst>
        </pc:spChg>
        <pc:grpChg chg="mod">
          <ac:chgData name="Jithin Mohan [UNext]" userId="385dd2b6-d5cf-4598-8587-f7835bad5e0b" providerId="ADAL" clId="{E895FC88-B9ED-48F8-9240-BBEAD452ABB4}" dt="2026-01-07T10:06:07.934" v="783" actId="1076"/>
          <ac:grpSpMkLst>
            <pc:docMk/>
            <pc:sldMk cId="2777523822" sldId="2147375971"/>
            <ac:grpSpMk id="9" creationId="{294BC91F-143B-859B-8489-BBDA8A749AC5}"/>
          </ac:grpSpMkLst>
        </pc:grpChg>
      </pc:sldChg>
      <pc:sldChg chg="addSp delSp modSp add mod">
        <pc:chgData name="Jithin Mohan [UNext]" userId="385dd2b6-d5cf-4598-8587-f7835bad5e0b" providerId="ADAL" clId="{E895FC88-B9ED-48F8-9240-BBEAD452ABB4}" dt="2026-01-07T10:07:06.594" v="805" actId="1036"/>
        <pc:sldMkLst>
          <pc:docMk/>
          <pc:sldMk cId="449422735" sldId="2147375972"/>
        </pc:sldMkLst>
        <pc:spChg chg="mod">
          <ac:chgData name="Jithin Mohan [UNext]" userId="385dd2b6-d5cf-4598-8587-f7835bad5e0b" providerId="ADAL" clId="{E895FC88-B9ED-48F8-9240-BBEAD452ABB4}" dt="2026-01-07T10:06:33.026" v="790"/>
          <ac:spMkLst>
            <pc:docMk/>
            <pc:sldMk cId="449422735" sldId="2147375972"/>
            <ac:spMk id="3" creationId="{1A82F57B-A0FD-4B62-4FBE-C4DDF244DC1F}"/>
          </ac:spMkLst>
        </pc:spChg>
        <pc:spChg chg="add mod">
          <ac:chgData name="Jithin Mohan [UNext]" userId="385dd2b6-d5cf-4598-8587-f7835bad5e0b" providerId="ADAL" clId="{E895FC88-B9ED-48F8-9240-BBEAD452ABB4}" dt="2026-01-07T10:07:06.594" v="805" actId="1036"/>
          <ac:spMkLst>
            <pc:docMk/>
            <pc:sldMk cId="449422735" sldId="2147375972"/>
            <ac:spMk id="4" creationId="{D6EA05AC-C487-7E9D-5084-6842DD7BAFCC}"/>
          </ac:spMkLst>
        </pc:spChg>
        <pc:spChg chg="add mod">
          <ac:chgData name="Jithin Mohan [UNext]" userId="385dd2b6-d5cf-4598-8587-f7835bad5e0b" providerId="ADAL" clId="{E895FC88-B9ED-48F8-9240-BBEAD452ABB4}" dt="2026-01-07T10:07:06.594" v="805" actId="1036"/>
          <ac:spMkLst>
            <pc:docMk/>
            <pc:sldMk cId="449422735" sldId="2147375972"/>
            <ac:spMk id="6" creationId="{2876E82C-A6E5-09B0-4875-22A41DBC6AF1}"/>
          </ac:spMkLst>
        </pc:spChg>
        <pc:spChg chg="add mod">
          <ac:chgData name="Jithin Mohan [UNext]" userId="385dd2b6-d5cf-4598-8587-f7835bad5e0b" providerId="ADAL" clId="{E895FC88-B9ED-48F8-9240-BBEAD452ABB4}" dt="2026-01-07T10:07:06.594" v="805" actId="1036"/>
          <ac:spMkLst>
            <pc:docMk/>
            <pc:sldMk cId="449422735" sldId="2147375972"/>
            <ac:spMk id="7" creationId="{F7340F49-90A8-F066-42AE-880334F08263}"/>
          </ac:spMkLst>
        </pc:spChg>
        <pc:grpChg chg="del">
          <ac:chgData name="Jithin Mohan [UNext]" userId="385dd2b6-d5cf-4598-8587-f7835bad5e0b" providerId="ADAL" clId="{E895FC88-B9ED-48F8-9240-BBEAD452ABB4}" dt="2026-01-07T10:06:23.903" v="789" actId="478"/>
          <ac:grpSpMkLst>
            <pc:docMk/>
            <pc:sldMk cId="449422735" sldId="2147375972"/>
            <ac:grpSpMk id="2" creationId="{380C07B9-00F8-51A6-9890-4FA36C0EFAFC}"/>
          </ac:grpSpMkLst>
        </pc:grpChg>
        <pc:picChg chg="add mod">
          <ac:chgData name="Jithin Mohan [UNext]" userId="385dd2b6-d5cf-4598-8587-f7835bad5e0b" providerId="ADAL" clId="{E895FC88-B9ED-48F8-9240-BBEAD452ABB4}" dt="2026-01-07T10:07:06.594" v="805" actId="1036"/>
          <ac:picMkLst>
            <pc:docMk/>
            <pc:sldMk cId="449422735" sldId="2147375972"/>
            <ac:picMk id="5" creationId="{E3074A7D-8348-1846-BE62-739275283AEC}"/>
          </ac:picMkLst>
        </pc:picChg>
      </pc:sldChg>
      <pc:sldChg chg="modSp add mod ord">
        <pc:chgData name="Jithin Mohan [UNext]" userId="385dd2b6-d5cf-4598-8587-f7835bad5e0b" providerId="ADAL" clId="{E895FC88-B9ED-48F8-9240-BBEAD452ABB4}" dt="2026-01-07T10:10:47.180" v="833" actId="20577"/>
        <pc:sldMkLst>
          <pc:docMk/>
          <pc:sldMk cId="3004774712" sldId="2147375973"/>
        </pc:sldMkLst>
        <pc:spChg chg="mod">
          <ac:chgData name="Jithin Mohan [UNext]" userId="385dd2b6-d5cf-4598-8587-f7835bad5e0b" providerId="ADAL" clId="{E895FC88-B9ED-48F8-9240-BBEAD452ABB4}" dt="2026-01-07T10:10:32.527" v="830" actId="14100"/>
          <ac:spMkLst>
            <pc:docMk/>
            <pc:sldMk cId="3004774712" sldId="2147375973"/>
            <ac:spMk id="6" creationId="{4785C793-8657-7721-B848-775D6E8EAEF7}"/>
          </ac:spMkLst>
        </pc:spChg>
        <pc:spChg chg="mod">
          <ac:chgData name="Jithin Mohan [UNext]" userId="385dd2b6-d5cf-4598-8587-f7835bad5e0b" providerId="ADAL" clId="{E895FC88-B9ED-48F8-9240-BBEAD452ABB4}" dt="2026-01-07T10:10:47.180" v="833" actId="20577"/>
          <ac:spMkLst>
            <pc:docMk/>
            <pc:sldMk cId="3004774712" sldId="2147375973"/>
            <ac:spMk id="8" creationId="{F652B623-5918-340B-CD66-D9BB3D0EE86A}"/>
          </ac:spMkLst>
        </pc:spChg>
        <pc:grpChg chg="mod">
          <ac:chgData name="Jithin Mohan [UNext]" userId="385dd2b6-d5cf-4598-8587-f7835bad5e0b" providerId="ADAL" clId="{E895FC88-B9ED-48F8-9240-BBEAD452ABB4}" dt="2026-01-07T10:10:44.667" v="832" actId="1076"/>
          <ac:grpSpMkLst>
            <pc:docMk/>
            <pc:sldMk cId="3004774712" sldId="2147375973"/>
            <ac:grpSpMk id="9" creationId="{294BC91F-143B-859B-8489-BBDA8A749AC5}"/>
          </ac:grpSpMkLst>
        </pc:grpChg>
        <pc:picChg chg="mod">
          <ac:chgData name="Jithin Mohan [UNext]" userId="385dd2b6-d5cf-4598-8587-f7835bad5e0b" providerId="ADAL" clId="{E895FC88-B9ED-48F8-9240-BBEAD452ABB4}" dt="2026-01-07T10:09:14.268" v="825" actId="1076"/>
          <ac:picMkLst>
            <pc:docMk/>
            <pc:sldMk cId="3004774712" sldId="2147375973"/>
            <ac:picMk id="4" creationId="{A356A699-8B1C-4B3D-414E-56B6AD0B9D16}"/>
          </ac:picMkLst>
        </pc:picChg>
      </pc:sldChg>
      <pc:sldChg chg="addSp delSp modSp add mod">
        <pc:chgData name="Jithin Mohan [UNext]" userId="385dd2b6-d5cf-4598-8587-f7835bad5e0b" providerId="ADAL" clId="{E895FC88-B9ED-48F8-9240-BBEAD452ABB4}" dt="2026-01-07T10:11:58.028" v="847" actId="404"/>
        <pc:sldMkLst>
          <pc:docMk/>
          <pc:sldMk cId="1456451760" sldId="2147375974"/>
        </pc:sldMkLst>
        <pc:spChg chg="add mod">
          <ac:chgData name="Jithin Mohan [UNext]" userId="385dd2b6-d5cf-4598-8587-f7835bad5e0b" providerId="ADAL" clId="{E895FC88-B9ED-48F8-9240-BBEAD452ABB4}" dt="2026-01-07T10:11:34.114" v="841" actId="1076"/>
          <ac:spMkLst>
            <pc:docMk/>
            <pc:sldMk cId="1456451760" sldId="2147375974"/>
            <ac:spMk id="2" creationId="{D690B9CA-FEEE-5939-B495-59F71D3EDAE1}"/>
          </ac:spMkLst>
        </pc:spChg>
        <pc:spChg chg="mod">
          <ac:chgData name="Jithin Mohan [UNext]" userId="385dd2b6-d5cf-4598-8587-f7835bad5e0b" providerId="ADAL" clId="{E895FC88-B9ED-48F8-9240-BBEAD452ABB4}" dt="2026-01-07T10:11:17.005" v="839" actId="20577"/>
          <ac:spMkLst>
            <pc:docMk/>
            <pc:sldMk cId="1456451760" sldId="2147375974"/>
            <ac:spMk id="3" creationId="{1A82F57B-A0FD-4B62-4FBE-C4DDF244DC1F}"/>
          </ac:spMkLst>
        </pc:spChg>
        <pc:spChg chg="del">
          <ac:chgData name="Jithin Mohan [UNext]" userId="385dd2b6-d5cf-4598-8587-f7835bad5e0b" providerId="ADAL" clId="{E895FC88-B9ED-48F8-9240-BBEAD452ABB4}" dt="2026-01-07T10:11:01.497" v="836" actId="478"/>
          <ac:spMkLst>
            <pc:docMk/>
            <pc:sldMk cId="1456451760" sldId="2147375974"/>
            <ac:spMk id="4" creationId="{D6EA05AC-C487-7E9D-5084-6842DD7BAFCC}"/>
          </ac:spMkLst>
        </pc:spChg>
        <pc:spChg chg="del">
          <ac:chgData name="Jithin Mohan [UNext]" userId="385dd2b6-d5cf-4598-8587-f7835bad5e0b" providerId="ADAL" clId="{E895FC88-B9ED-48F8-9240-BBEAD452ABB4}" dt="2026-01-07T10:11:01.497" v="836" actId="478"/>
          <ac:spMkLst>
            <pc:docMk/>
            <pc:sldMk cId="1456451760" sldId="2147375974"/>
            <ac:spMk id="6" creationId="{2876E82C-A6E5-09B0-4875-22A41DBC6AF1}"/>
          </ac:spMkLst>
        </pc:spChg>
        <pc:spChg chg="del">
          <ac:chgData name="Jithin Mohan [UNext]" userId="385dd2b6-d5cf-4598-8587-f7835bad5e0b" providerId="ADAL" clId="{E895FC88-B9ED-48F8-9240-BBEAD452ABB4}" dt="2026-01-07T10:11:01.497" v="836" actId="478"/>
          <ac:spMkLst>
            <pc:docMk/>
            <pc:sldMk cId="1456451760" sldId="2147375974"/>
            <ac:spMk id="7" creationId="{F7340F49-90A8-F066-42AE-880334F08263}"/>
          </ac:spMkLst>
        </pc:spChg>
        <pc:spChg chg="add mod">
          <ac:chgData name="Jithin Mohan [UNext]" userId="385dd2b6-d5cf-4598-8587-f7835bad5e0b" providerId="ADAL" clId="{E895FC88-B9ED-48F8-9240-BBEAD452ABB4}" dt="2026-01-07T10:11:34.114" v="841" actId="1076"/>
          <ac:spMkLst>
            <pc:docMk/>
            <pc:sldMk cId="1456451760" sldId="2147375974"/>
            <ac:spMk id="8" creationId="{F4059E6D-A909-D1BC-8315-15956C7A9616}"/>
          </ac:spMkLst>
        </pc:spChg>
        <pc:spChg chg="add mod">
          <ac:chgData name="Jithin Mohan [UNext]" userId="385dd2b6-d5cf-4598-8587-f7835bad5e0b" providerId="ADAL" clId="{E895FC88-B9ED-48F8-9240-BBEAD452ABB4}" dt="2026-01-07T10:11:34.114" v="841" actId="1076"/>
          <ac:spMkLst>
            <pc:docMk/>
            <pc:sldMk cId="1456451760" sldId="2147375974"/>
            <ac:spMk id="9" creationId="{49E8D1D9-9210-698C-E024-3F227BD19E71}"/>
          </ac:spMkLst>
        </pc:spChg>
        <pc:spChg chg="add mod">
          <ac:chgData name="Jithin Mohan [UNext]" userId="385dd2b6-d5cf-4598-8587-f7835bad5e0b" providerId="ADAL" clId="{E895FC88-B9ED-48F8-9240-BBEAD452ABB4}" dt="2026-01-07T10:11:49.264" v="845" actId="20577"/>
          <ac:spMkLst>
            <pc:docMk/>
            <pc:sldMk cId="1456451760" sldId="2147375974"/>
            <ac:spMk id="10" creationId="{71AA9994-5191-DD78-11AC-934328731FD5}"/>
          </ac:spMkLst>
        </pc:spChg>
        <pc:spChg chg="add mod">
          <ac:chgData name="Jithin Mohan [UNext]" userId="385dd2b6-d5cf-4598-8587-f7835bad5e0b" providerId="ADAL" clId="{E895FC88-B9ED-48F8-9240-BBEAD452ABB4}" dt="2026-01-07T10:11:34.114" v="841" actId="1076"/>
          <ac:spMkLst>
            <pc:docMk/>
            <pc:sldMk cId="1456451760" sldId="2147375974"/>
            <ac:spMk id="12" creationId="{E75F63FE-644A-F43F-CC68-904EADA79015}"/>
          </ac:spMkLst>
        </pc:spChg>
        <pc:spChg chg="add mod">
          <ac:chgData name="Jithin Mohan [UNext]" userId="385dd2b6-d5cf-4598-8587-f7835bad5e0b" providerId="ADAL" clId="{E895FC88-B9ED-48F8-9240-BBEAD452ABB4}" dt="2026-01-07T10:11:58.028" v="847" actId="404"/>
          <ac:spMkLst>
            <pc:docMk/>
            <pc:sldMk cId="1456451760" sldId="2147375974"/>
            <ac:spMk id="13" creationId="{F326F329-9D8E-D2EA-38F9-4538DACE1ED8}"/>
          </ac:spMkLst>
        </pc:spChg>
        <pc:picChg chg="del">
          <ac:chgData name="Jithin Mohan [UNext]" userId="385dd2b6-d5cf-4598-8587-f7835bad5e0b" providerId="ADAL" clId="{E895FC88-B9ED-48F8-9240-BBEAD452ABB4}" dt="2026-01-07T10:11:01.497" v="836" actId="478"/>
          <ac:picMkLst>
            <pc:docMk/>
            <pc:sldMk cId="1456451760" sldId="2147375974"/>
            <ac:picMk id="5" creationId="{E3074A7D-8348-1846-BE62-739275283AEC}"/>
          </ac:picMkLst>
        </pc:picChg>
        <pc:picChg chg="add mod">
          <ac:chgData name="Jithin Mohan [UNext]" userId="385dd2b6-d5cf-4598-8587-f7835bad5e0b" providerId="ADAL" clId="{E895FC88-B9ED-48F8-9240-BBEAD452ABB4}" dt="2026-01-07T10:11:34.114" v="841" actId="1076"/>
          <ac:picMkLst>
            <pc:docMk/>
            <pc:sldMk cId="1456451760" sldId="2147375974"/>
            <ac:picMk id="11" creationId="{9C2075F3-C0AA-3BD1-442B-983173BDE397}"/>
          </ac:picMkLst>
        </pc:picChg>
      </pc:sldChg>
      <pc:sldChg chg="addSp delSp modSp add mod">
        <pc:chgData name="Jithin Mohan [UNext]" userId="385dd2b6-d5cf-4598-8587-f7835bad5e0b" providerId="ADAL" clId="{E895FC88-B9ED-48F8-9240-BBEAD452ABB4}" dt="2026-01-07T10:13:08.224" v="859" actId="20577"/>
        <pc:sldMkLst>
          <pc:docMk/>
          <pc:sldMk cId="2208418608" sldId="2147375975"/>
        </pc:sldMkLst>
        <pc:spChg chg="del">
          <ac:chgData name="Jithin Mohan [UNext]" userId="385dd2b6-d5cf-4598-8587-f7835bad5e0b" providerId="ADAL" clId="{E895FC88-B9ED-48F8-9240-BBEAD452ABB4}" dt="2026-01-07T10:12:12.979" v="850" actId="478"/>
          <ac:spMkLst>
            <pc:docMk/>
            <pc:sldMk cId="2208418608" sldId="2147375975"/>
            <ac:spMk id="2" creationId="{D690B9CA-FEEE-5939-B495-59F71D3EDAE1}"/>
          </ac:spMkLst>
        </pc:spChg>
        <pc:spChg chg="mod">
          <ac:chgData name="Jithin Mohan [UNext]" userId="385dd2b6-d5cf-4598-8587-f7835bad5e0b" providerId="ADAL" clId="{E895FC88-B9ED-48F8-9240-BBEAD452ABB4}" dt="2026-01-07T10:12:35.685" v="851"/>
          <ac:spMkLst>
            <pc:docMk/>
            <pc:sldMk cId="2208418608" sldId="2147375975"/>
            <ac:spMk id="3" creationId="{1A82F57B-A0FD-4B62-4FBE-C4DDF244DC1F}"/>
          </ac:spMkLst>
        </pc:spChg>
        <pc:spChg chg="add mod">
          <ac:chgData name="Jithin Mohan [UNext]" userId="385dd2b6-d5cf-4598-8587-f7835bad5e0b" providerId="ADAL" clId="{E895FC88-B9ED-48F8-9240-BBEAD452ABB4}" dt="2026-01-07T10:13:05.237" v="858" actId="1076"/>
          <ac:spMkLst>
            <pc:docMk/>
            <pc:sldMk cId="2208418608" sldId="2147375975"/>
            <ac:spMk id="4" creationId="{DA62B013-6F4D-0D06-3C52-D399672C99E9}"/>
          </ac:spMkLst>
        </pc:spChg>
        <pc:spChg chg="add mod">
          <ac:chgData name="Jithin Mohan [UNext]" userId="385dd2b6-d5cf-4598-8587-f7835bad5e0b" providerId="ADAL" clId="{E895FC88-B9ED-48F8-9240-BBEAD452ABB4}" dt="2026-01-07T10:12:43.704" v="852"/>
          <ac:spMkLst>
            <pc:docMk/>
            <pc:sldMk cId="2208418608" sldId="2147375975"/>
            <ac:spMk id="6" creationId="{24AA8392-A50F-DCDB-D402-50EC89758AA3}"/>
          </ac:spMkLst>
        </pc:spChg>
        <pc:spChg chg="add mod">
          <ac:chgData name="Jithin Mohan [UNext]" userId="385dd2b6-d5cf-4598-8587-f7835bad5e0b" providerId="ADAL" clId="{E895FC88-B9ED-48F8-9240-BBEAD452ABB4}" dt="2026-01-07T10:13:08.224" v="859" actId="20577"/>
          <ac:spMkLst>
            <pc:docMk/>
            <pc:sldMk cId="2208418608" sldId="2147375975"/>
            <ac:spMk id="7" creationId="{D38A1AED-301B-5C7B-6FEB-CC89D4A9F08F}"/>
          </ac:spMkLst>
        </pc:spChg>
        <pc:spChg chg="del">
          <ac:chgData name="Jithin Mohan [UNext]" userId="385dd2b6-d5cf-4598-8587-f7835bad5e0b" providerId="ADAL" clId="{E895FC88-B9ED-48F8-9240-BBEAD452ABB4}" dt="2026-01-07T10:12:12.979" v="850" actId="478"/>
          <ac:spMkLst>
            <pc:docMk/>
            <pc:sldMk cId="2208418608" sldId="2147375975"/>
            <ac:spMk id="8" creationId="{F4059E6D-A909-D1BC-8315-15956C7A9616}"/>
          </ac:spMkLst>
        </pc:spChg>
        <pc:spChg chg="del">
          <ac:chgData name="Jithin Mohan [UNext]" userId="385dd2b6-d5cf-4598-8587-f7835bad5e0b" providerId="ADAL" clId="{E895FC88-B9ED-48F8-9240-BBEAD452ABB4}" dt="2026-01-07T10:12:12.979" v="850" actId="478"/>
          <ac:spMkLst>
            <pc:docMk/>
            <pc:sldMk cId="2208418608" sldId="2147375975"/>
            <ac:spMk id="9" creationId="{49E8D1D9-9210-698C-E024-3F227BD19E71}"/>
          </ac:spMkLst>
        </pc:spChg>
        <pc:spChg chg="del">
          <ac:chgData name="Jithin Mohan [UNext]" userId="385dd2b6-d5cf-4598-8587-f7835bad5e0b" providerId="ADAL" clId="{E895FC88-B9ED-48F8-9240-BBEAD452ABB4}" dt="2026-01-07T10:12:12.979" v="850" actId="478"/>
          <ac:spMkLst>
            <pc:docMk/>
            <pc:sldMk cId="2208418608" sldId="2147375975"/>
            <ac:spMk id="10" creationId="{71AA9994-5191-DD78-11AC-934328731FD5}"/>
          </ac:spMkLst>
        </pc:spChg>
        <pc:spChg chg="del">
          <ac:chgData name="Jithin Mohan [UNext]" userId="385dd2b6-d5cf-4598-8587-f7835bad5e0b" providerId="ADAL" clId="{E895FC88-B9ED-48F8-9240-BBEAD452ABB4}" dt="2026-01-07T10:12:12.979" v="850" actId="478"/>
          <ac:spMkLst>
            <pc:docMk/>
            <pc:sldMk cId="2208418608" sldId="2147375975"/>
            <ac:spMk id="12" creationId="{E75F63FE-644A-F43F-CC68-904EADA79015}"/>
          </ac:spMkLst>
        </pc:spChg>
        <pc:spChg chg="del">
          <ac:chgData name="Jithin Mohan [UNext]" userId="385dd2b6-d5cf-4598-8587-f7835bad5e0b" providerId="ADAL" clId="{E895FC88-B9ED-48F8-9240-BBEAD452ABB4}" dt="2026-01-07T10:12:12.979" v="850" actId="478"/>
          <ac:spMkLst>
            <pc:docMk/>
            <pc:sldMk cId="2208418608" sldId="2147375975"/>
            <ac:spMk id="13" creationId="{F326F329-9D8E-D2EA-38F9-4538DACE1ED8}"/>
          </ac:spMkLst>
        </pc:spChg>
        <pc:spChg chg="add mod">
          <ac:chgData name="Jithin Mohan [UNext]" userId="385dd2b6-d5cf-4598-8587-f7835bad5e0b" providerId="ADAL" clId="{E895FC88-B9ED-48F8-9240-BBEAD452ABB4}" dt="2026-01-07T10:12:43.704" v="852"/>
          <ac:spMkLst>
            <pc:docMk/>
            <pc:sldMk cId="2208418608" sldId="2147375975"/>
            <ac:spMk id="14" creationId="{68B20EFA-F4E0-2D7A-4A49-F9FD693D1C93}"/>
          </ac:spMkLst>
        </pc:spChg>
        <pc:picChg chg="add mod">
          <ac:chgData name="Jithin Mohan [UNext]" userId="385dd2b6-d5cf-4598-8587-f7835bad5e0b" providerId="ADAL" clId="{E895FC88-B9ED-48F8-9240-BBEAD452ABB4}" dt="2026-01-07T10:12:43.704" v="852"/>
          <ac:picMkLst>
            <pc:docMk/>
            <pc:sldMk cId="2208418608" sldId="2147375975"/>
            <ac:picMk id="5" creationId="{F836D81D-74E1-65B7-F495-4970C8462692}"/>
          </ac:picMkLst>
        </pc:picChg>
        <pc:picChg chg="del">
          <ac:chgData name="Jithin Mohan [UNext]" userId="385dd2b6-d5cf-4598-8587-f7835bad5e0b" providerId="ADAL" clId="{E895FC88-B9ED-48F8-9240-BBEAD452ABB4}" dt="2026-01-07T10:12:12.979" v="850" actId="478"/>
          <ac:picMkLst>
            <pc:docMk/>
            <pc:sldMk cId="2208418608" sldId="2147375975"/>
            <ac:picMk id="11" creationId="{9C2075F3-C0AA-3BD1-442B-983173BDE397}"/>
          </ac:picMkLst>
        </pc:picChg>
      </pc:sldChg>
      <pc:sldChg chg="add">
        <pc:chgData name="Jithin Mohan [UNext]" userId="385dd2b6-d5cf-4598-8587-f7835bad5e0b" providerId="ADAL" clId="{E895FC88-B9ED-48F8-9240-BBEAD452ABB4}" dt="2026-01-07T10:13:42.981" v="861"/>
        <pc:sldMkLst>
          <pc:docMk/>
          <pc:sldMk cId="764045750" sldId="2147375976"/>
        </pc:sldMkLst>
      </pc:sldChg>
      <pc:sldChg chg="modSp add mod modNotesTx">
        <pc:chgData name="Jithin Mohan [UNext]" userId="385dd2b6-d5cf-4598-8587-f7835bad5e0b" providerId="ADAL" clId="{E895FC88-B9ED-48F8-9240-BBEAD452ABB4}" dt="2026-01-07T10:14:22.330" v="867"/>
        <pc:sldMkLst>
          <pc:docMk/>
          <pc:sldMk cId="476002382" sldId="2147375977"/>
        </pc:sldMkLst>
        <pc:spChg chg="mod">
          <ac:chgData name="Jithin Mohan [UNext]" userId="385dd2b6-d5cf-4598-8587-f7835bad5e0b" providerId="ADAL" clId="{E895FC88-B9ED-48F8-9240-BBEAD452ABB4}" dt="2026-01-07T10:14:11.966" v="866"/>
          <ac:spMkLst>
            <pc:docMk/>
            <pc:sldMk cId="476002382" sldId="2147375977"/>
            <ac:spMk id="8" creationId="{F652B623-5918-340B-CD66-D9BB3D0EE86A}"/>
          </ac:spMkLst>
        </pc:spChg>
      </pc:sldChg>
      <pc:sldChg chg="add del">
        <pc:chgData name="Jithin Mohan [UNext]" userId="385dd2b6-d5cf-4598-8587-f7835bad5e0b" providerId="ADAL" clId="{E895FC88-B9ED-48F8-9240-BBEAD452ABB4}" dt="2026-01-07T10:13:56.281" v="864"/>
        <pc:sldMkLst>
          <pc:docMk/>
          <pc:sldMk cId="1071199445" sldId="2147375977"/>
        </pc:sldMkLst>
      </pc:sldChg>
      <pc:sldChg chg="addSp delSp modSp add mod ord modNotesTx">
        <pc:chgData name="Jithin Mohan [UNext]" userId="385dd2b6-d5cf-4598-8587-f7835bad5e0b" providerId="ADAL" clId="{E895FC88-B9ED-48F8-9240-BBEAD452ABB4}" dt="2026-01-07T10:16:06.359" v="881"/>
        <pc:sldMkLst>
          <pc:docMk/>
          <pc:sldMk cId="268038290" sldId="2147375978"/>
        </pc:sldMkLst>
        <pc:spChg chg="mod">
          <ac:chgData name="Jithin Mohan [UNext]" userId="385dd2b6-d5cf-4598-8587-f7835bad5e0b" providerId="ADAL" clId="{E895FC88-B9ED-48F8-9240-BBEAD452ABB4}" dt="2026-01-07T10:15:32.382" v="875" actId="404"/>
          <ac:spMkLst>
            <pc:docMk/>
            <pc:sldMk cId="268038290" sldId="2147375978"/>
            <ac:spMk id="3" creationId="{1A82F57B-A0FD-4B62-4FBE-C4DDF244DC1F}"/>
          </ac:spMkLst>
        </pc:spChg>
        <pc:spChg chg="del">
          <ac:chgData name="Jithin Mohan [UNext]" userId="385dd2b6-d5cf-4598-8587-f7835bad5e0b" providerId="ADAL" clId="{E895FC88-B9ED-48F8-9240-BBEAD452ABB4}" dt="2026-01-07T10:15:37.600" v="876" actId="478"/>
          <ac:spMkLst>
            <pc:docMk/>
            <pc:sldMk cId="268038290" sldId="2147375978"/>
            <ac:spMk id="4" creationId="{DA62B013-6F4D-0D06-3C52-D399672C99E9}"/>
          </ac:spMkLst>
        </pc:spChg>
        <pc:spChg chg="del">
          <ac:chgData name="Jithin Mohan [UNext]" userId="385dd2b6-d5cf-4598-8587-f7835bad5e0b" providerId="ADAL" clId="{E895FC88-B9ED-48F8-9240-BBEAD452ABB4}" dt="2026-01-07T10:15:37.600" v="876" actId="478"/>
          <ac:spMkLst>
            <pc:docMk/>
            <pc:sldMk cId="268038290" sldId="2147375978"/>
            <ac:spMk id="6" creationId="{24AA8392-A50F-DCDB-D402-50EC89758AA3}"/>
          </ac:spMkLst>
        </pc:spChg>
        <pc:spChg chg="del">
          <ac:chgData name="Jithin Mohan [UNext]" userId="385dd2b6-d5cf-4598-8587-f7835bad5e0b" providerId="ADAL" clId="{E895FC88-B9ED-48F8-9240-BBEAD452ABB4}" dt="2026-01-07T10:15:37.600" v="876" actId="478"/>
          <ac:spMkLst>
            <pc:docMk/>
            <pc:sldMk cId="268038290" sldId="2147375978"/>
            <ac:spMk id="7" creationId="{D38A1AED-301B-5C7B-6FEB-CC89D4A9F08F}"/>
          </ac:spMkLst>
        </pc:spChg>
        <pc:spChg chg="add mod">
          <ac:chgData name="Jithin Mohan [UNext]" userId="385dd2b6-d5cf-4598-8587-f7835bad5e0b" providerId="ADAL" clId="{E895FC88-B9ED-48F8-9240-BBEAD452ABB4}" dt="2026-01-07T10:15:59.376" v="880" actId="1076"/>
          <ac:spMkLst>
            <pc:docMk/>
            <pc:sldMk cId="268038290" sldId="2147375978"/>
            <ac:spMk id="8" creationId="{CF25AFF7-69B5-1F31-7B23-0667A76CC426}"/>
          </ac:spMkLst>
        </pc:spChg>
        <pc:spChg chg="del">
          <ac:chgData name="Jithin Mohan [UNext]" userId="385dd2b6-d5cf-4598-8587-f7835bad5e0b" providerId="ADAL" clId="{E895FC88-B9ED-48F8-9240-BBEAD452ABB4}" dt="2026-01-07T10:15:37.600" v="876" actId="478"/>
          <ac:spMkLst>
            <pc:docMk/>
            <pc:sldMk cId="268038290" sldId="2147375978"/>
            <ac:spMk id="14" creationId="{68B20EFA-F4E0-2D7A-4A49-F9FD693D1C93}"/>
          </ac:spMkLst>
        </pc:spChg>
        <pc:picChg chg="del">
          <ac:chgData name="Jithin Mohan [UNext]" userId="385dd2b6-d5cf-4598-8587-f7835bad5e0b" providerId="ADAL" clId="{E895FC88-B9ED-48F8-9240-BBEAD452ABB4}" dt="2026-01-07T10:15:37.600" v="876" actId="478"/>
          <ac:picMkLst>
            <pc:docMk/>
            <pc:sldMk cId="268038290" sldId="2147375978"/>
            <ac:picMk id="5" creationId="{F836D81D-74E1-65B7-F495-4970C8462692}"/>
          </ac:picMkLst>
        </pc:picChg>
      </pc:sldChg>
      <pc:sldChg chg="addSp delSp modSp add mod modNotesTx">
        <pc:chgData name="Jithin Mohan [UNext]" userId="385dd2b6-d5cf-4598-8587-f7835bad5e0b" providerId="ADAL" clId="{E895FC88-B9ED-48F8-9240-BBEAD452ABB4}" dt="2026-01-16T06:57:03.753" v="1494" actId="1076"/>
        <pc:sldMkLst>
          <pc:docMk/>
          <pc:sldMk cId="3983971882" sldId="2147375979"/>
        </pc:sldMkLst>
        <pc:spChg chg="add">
          <ac:chgData name="Jithin Mohan [UNext]" userId="385dd2b6-d5cf-4598-8587-f7835bad5e0b" providerId="ADAL" clId="{E895FC88-B9ED-48F8-9240-BBEAD452ABB4}" dt="2026-01-16T06:56:49.718" v="1491"/>
          <ac:spMkLst>
            <pc:docMk/>
            <pc:sldMk cId="3983971882" sldId="2147375979"/>
            <ac:spMk id="2" creationId="{F36754DD-581C-6E11-D67A-8E1DF7A30ECD}"/>
          </ac:spMkLst>
        </pc:spChg>
        <pc:spChg chg="mod">
          <ac:chgData name="Jithin Mohan [UNext]" userId="385dd2b6-d5cf-4598-8587-f7835bad5e0b" providerId="ADAL" clId="{E895FC88-B9ED-48F8-9240-BBEAD452ABB4}" dt="2026-01-07T10:17:06.712" v="884"/>
          <ac:spMkLst>
            <pc:docMk/>
            <pc:sldMk cId="3983971882" sldId="2147375979"/>
            <ac:spMk id="3" creationId="{1A82F57B-A0FD-4B62-4FBE-C4DDF244DC1F}"/>
          </ac:spMkLst>
        </pc:spChg>
        <pc:spChg chg="del">
          <ac:chgData name="Jithin Mohan [UNext]" userId="385dd2b6-d5cf-4598-8587-f7835bad5e0b" providerId="ADAL" clId="{E895FC88-B9ED-48F8-9240-BBEAD452ABB4}" dt="2026-01-07T10:17:16.653" v="885" actId="478"/>
          <ac:spMkLst>
            <pc:docMk/>
            <pc:sldMk cId="3983971882" sldId="2147375979"/>
            <ac:spMk id="8" creationId="{CF25AFF7-69B5-1F31-7B23-0667A76CC426}"/>
          </ac:spMkLst>
        </pc:spChg>
        <pc:picChg chg="add mod">
          <ac:chgData name="Jithin Mohan [UNext]" userId="385dd2b6-d5cf-4598-8587-f7835bad5e0b" providerId="ADAL" clId="{E895FC88-B9ED-48F8-9240-BBEAD452ABB4}" dt="2026-01-16T06:57:03.753" v="1494" actId="1076"/>
          <ac:picMkLst>
            <pc:docMk/>
            <pc:sldMk cId="3983971882" sldId="2147375979"/>
            <ac:picMk id="4" creationId="{57E0E4F0-B685-4D8E-A1A3-800C5B98A3D8}"/>
          </ac:picMkLst>
        </pc:picChg>
      </pc:sldChg>
      <pc:sldChg chg="addSp modSp add mod ord">
        <pc:chgData name="Jithin Mohan [UNext]" userId="385dd2b6-d5cf-4598-8587-f7835bad5e0b" providerId="ADAL" clId="{E895FC88-B9ED-48F8-9240-BBEAD452ABB4}" dt="2026-01-07T10:19:02.474" v="901" actId="1076"/>
        <pc:sldMkLst>
          <pc:docMk/>
          <pc:sldMk cId="633756971" sldId="2147375980"/>
        </pc:sldMkLst>
        <pc:spChg chg="mod">
          <ac:chgData name="Jithin Mohan [UNext]" userId="385dd2b6-d5cf-4598-8587-f7835bad5e0b" providerId="ADAL" clId="{E895FC88-B9ED-48F8-9240-BBEAD452ABB4}" dt="2026-01-07T10:18:52.396" v="899" actId="20577"/>
          <ac:spMkLst>
            <pc:docMk/>
            <pc:sldMk cId="633756971" sldId="2147375980"/>
            <ac:spMk id="3" creationId="{1A82F57B-A0FD-4B62-4FBE-C4DDF244DC1F}"/>
          </ac:spMkLst>
        </pc:spChg>
        <pc:spChg chg="mod">
          <ac:chgData name="Jithin Mohan [UNext]" userId="385dd2b6-d5cf-4598-8587-f7835bad5e0b" providerId="ADAL" clId="{E895FC88-B9ED-48F8-9240-BBEAD452ABB4}" dt="2026-01-07T10:18:59.514" v="900"/>
          <ac:spMkLst>
            <pc:docMk/>
            <pc:sldMk cId="633756971" sldId="2147375980"/>
            <ac:spMk id="5" creationId="{10CDB1C7-C6AD-C559-6AF3-42F23293EB28}"/>
          </ac:spMkLst>
        </pc:spChg>
        <pc:spChg chg="mod">
          <ac:chgData name="Jithin Mohan [UNext]" userId="385dd2b6-d5cf-4598-8587-f7835bad5e0b" providerId="ADAL" clId="{E895FC88-B9ED-48F8-9240-BBEAD452ABB4}" dt="2026-01-07T10:18:59.514" v="900"/>
          <ac:spMkLst>
            <pc:docMk/>
            <pc:sldMk cId="633756971" sldId="2147375980"/>
            <ac:spMk id="6" creationId="{77DF3C20-42EE-E80C-E946-53771748BD72}"/>
          </ac:spMkLst>
        </pc:spChg>
        <pc:grpChg chg="add mod">
          <ac:chgData name="Jithin Mohan [UNext]" userId="385dd2b6-d5cf-4598-8587-f7835bad5e0b" providerId="ADAL" clId="{E895FC88-B9ED-48F8-9240-BBEAD452ABB4}" dt="2026-01-07T10:19:02.474" v="901" actId="1076"/>
          <ac:grpSpMkLst>
            <pc:docMk/>
            <pc:sldMk cId="633756971" sldId="2147375980"/>
            <ac:grpSpMk id="4" creationId="{A8AE40B3-D8EF-4872-2DF0-EE2E2F843AA0}"/>
          </ac:grpSpMkLst>
        </pc:grpChg>
        <pc:graphicFrameChg chg="add mod">
          <ac:chgData name="Jithin Mohan [UNext]" userId="385dd2b6-d5cf-4598-8587-f7835bad5e0b" providerId="ADAL" clId="{E895FC88-B9ED-48F8-9240-BBEAD452ABB4}" dt="2026-01-07T10:19:02.474" v="901" actId="1076"/>
          <ac:graphicFrameMkLst>
            <pc:docMk/>
            <pc:sldMk cId="633756971" sldId="2147375980"/>
            <ac:graphicFrameMk id="2" creationId="{E909C544-F864-6ED8-AC35-B7327A6C1D54}"/>
          </ac:graphicFrameMkLst>
        </pc:graphicFrameChg>
      </pc:sldChg>
      <pc:sldChg chg="modSp add mod modNotesTx">
        <pc:chgData name="Jithin Mohan [UNext]" userId="385dd2b6-d5cf-4598-8587-f7835bad5e0b" providerId="ADAL" clId="{E895FC88-B9ED-48F8-9240-BBEAD452ABB4}" dt="2026-01-08T05:54:48.230" v="919"/>
        <pc:sldMkLst>
          <pc:docMk/>
          <pc:sldMk cId="2941237352" sldId="2147375981"/>
        </pc:sldMkLst>
        <pc:spChg chg="mod">
          <ac:chgData name="Jithin Mohan [UNext]" userId="385dd2b6-d5cf-4598-8587-f7835bad5e0b" providerId="ADAL" clId="{E895FC88-B9ED-48F8-9240-BBEAD452ABB4}" dt="2026-01-08T05:54:36.214" v="917" actId="1076"/>
          <ac:spMkLst>
            <pc:docMk/>
            <pc:sldMk cId="2941237352" sldId="2147375981"/>
            <ac:spMk id="8" creationId="{F652B623-5918-340B-CD66-D9BB3D0EE86A}"/>
          </ac:spMkLst>
        </pc:spChg>
      </pc:sldChg>
      <pc:sldChg chg="addSp delSp modSp add mod modNotesTx">
        <pc:chgData name="Jithin Mohan [UNext]" userId="385dd2b6-d5cf-4598-8587-f7835bad5e0b" providerId="ADAL" clId="{E895FC88-B9ED-48F8-9240-BBEAD452ABB4}" dt="2026-01-08T05:56:21.706" v="935"/>
        <pc:sldMkLst>
          <pc:docMk/>
          <pc:sldMk cId="1645848294" sldId="2147375982"/>
        </pc:sldMkLst>
        <pc:spChg chg="del">
          <ac:chgData name="Jithin Mohan [UNext]" userId="385dd2b6-d5cf-4598-8587-f7835bad5e0b" providerId="ADAL" clId="{E895FC88-B9ED-48F8-9240-BBEAD452ABB4}" dt="2026-01-08T05:55:49.719" v="923" actId="478"/>
          <ac:spMkLst>
            <pc:docMk/>
            <pc:sldMk cId="1645848294" sldId="2147375982"/>
            <ac:spMk id="3" creationId="{35011EFB-B444-127B-3688-0C7BA0377124}"/>
          </ac:spMkLst>
        </pc:spChg>
        <pc:spChg chg="mod">
          <ac:chgData name="Jithin Mohan [UNext]" userId="385dd2b6-d5cf-4598-8587-f7835bad5e0b" providerId="ADAL" clId="{E895FC88-B9ED-48F8-9240-BBEAD452ABB4}" dt="2026-01-08T05:55:37.107" v="922"/>
          <ac:spMkLst>
            <pc:docMk/>
            <pc:sldMk cId="1645848294" sldId="2147375982"/>
            <ac:spMk id="4" creationId="{3E7F068C-7331-4C29-982C-3427FBB32AA9}"/>
          </ac:spMkLst>
        </pc:spChg>
        <pc:spChg chg="add mod">
          <ac:chgData name="Jithin Mohan [UNext]" userId="385dd2b6-d5cf-4598-8587-f7835bad5e0b" providerId="ADAL" clId="{E895FC88-B9ED-48F8-9240-BBEAD452ABB4}" dt="2026-01-08T05:56:15.188" v="934" actId="1076"/>
          <ac:spMkLst>
            <pc:docMk/>
            <pc:sldMk cId="1645848294" sldId="2147375982"/>
            <ac:spMk id="5" creationId="{7314ACE0-1F6A-8841-9EDC-78B9ECFCD3FF}"/>
          </ac:spMkLst>
        </pc:spChg>
      </pc:sldChg>
      <pc:sldChg chg="addSp delSp modSp add mod ord modNotesTx">
        <pc:chgData name="Jithin Mohan [UNext]" userId="385dd2b6-d5cf-4598-8587-f7835bad5e0b" providerId="ADAL" clId="{E895FC88-B9ED-48F8-9240-BBEAD452ABB4}" dt="2026-01-08T05:57:42.871" v="951" actId="6549"/>
        <pc:sldMkLst>
          <pc:docMk/>
          <pc:sldMk cId="3437451401" sldId="2147375983"/>
        </pc:sldMkLst>
        <pc:spChg chg="del">
          <ac:chgData name="Jithin Mohan [UNext]" userId="385dd2b6-d5cf-4598-8587-f7835bad5e0b" providerId="ADAL" clId="{E895FC88-B9ED-48F8-9240-BBEAD452ABB4}" dt="2026-01-08T05:57:33.500" v="948" actId="478"/>
          <ac:spMkLst>
            <pc:docMk/>
            <pc:sldMk cId="3437451401" sldId="2147375983"/>
            <ac:spMk id="2" creationId="{E51E1714-CAC4-C1BB-8F1F-B1155406404F}"/>
          </ac:spMkLst>
        </pc:spChg>
        <pc:spChg chg="del">
          <ac:chgData name="Jithin Mohan [UNext]" userId="385dd2b6-d5cf-4598-8587-f7835bad5e0b" providerId="ADAL" clId="{E895FC88-B9ED-48F8-9240-BBEAD452ABB4}" dt="2026-01-08T05:57:33.500" v="948" actId="478"/>
          <ac:spMkLst>
            <pc:docMk/>
            <pc:sldMk cId="3437451401" sldId="2147375983"/>
            <ac:spMk id="5" creationId="{7314ACE0-1F6A-8841-9EDC-78B9ECFCD3FF}"/>
          </ac:spMkLst>
        </pc:spChg>
        <pc:graphicFrameChg chg="add mod">
          <ac:chgData name="Jithin Mohan [UNext]" userId="385dd2b6-d5cf-4598-8587-f7835bad5e0b" providerId="ADAL" clId="{E895FC88-B9ED-48F8-9240-BBEAD452ABB4}" dt="2026-01-08T05:57:40.454" v="950" actId="1076"/>
          <ac:graphicFrameMkLst>
            <pc:docMk/>
            <pc:sldMk cId="3437451401" sldId="2147375983"/>
            <ac:graphicFrameMk id="3" creationId="{F538EBC3-13A7-9E3C-FBA0-30780073E720}"/>
          </ac:graphicFrameMkLst>
        </pc:graphicFrameChg>
        <pc:graphicFrameChg chg="add mod">
          <ac:chgData name="Jithin Mohan [UNext]" userId="385dd2b6-d5cf-4598-8587-f7835bad5e0b" providerId="ADAL" clId="{E895FC88-B9ED-48F8-9240-BBEAD452ABB4}" dt="2026-01-08T05:57:40.454" v="950" actId="1076"/>
          <ac:graphicFrameMkLst>
            <pc:docMk/>
            <pc:sldMk cId="3437451401" sldId="2147375983"/>
            <ac:graphicFrameMk id="6" creationId="{73C0D51C-C840-6A2B-1BB4-6A5FC25F5E57}"/>
          </ac:graphicFrameMkLst>
        </pc:graphicFrameChg>
      </pc:sldChg>
      <pc:sldChg chg="addSp delSp modSp add mod">
        <pc:chgData name="Jithin Mohan [UNext]" userId="385dd2b6-d5cf-4598-8587-f7835bad5e0b" providerId="ADAL" clId="{E895FC88-B9ED-48F8-9240-BBEAD452ABB4}" dt="2026-01-08T05:59:02.021" v="972" actId="1076"/>
        <pc:sldMkLst>
          <pc:docMk/>
          <pc:sldMk cId="1503004092" sldId="2147375984"/>
        </pc:sldMkLst>
        <pc:spChg chg="add mod">
          <ac:chgData name="Jithin Mohan [UNext]" userId="385dd2b6-d5cf-4598-8587-f7835bad5e0b" providerId="ADAL" clId="{E895FC88-B9ED-48F8-9240-BBEAD452ABB4}" dt="2026-01-08T05:59:02.021" v="972" actId="1076"/>
          <ac:spMkLst>
            <pc:docMk/>
            <pc:sldMk cId="1503004092" sldId="2147375984"/>
            <ac:spMk id="2" creationId="{4D21B02A-0027-3EBD-1CD5-E4D4E36EBDFA}"/>
          </ac:spMkLst>
        </pc:spChg>
        <pc:spChg chg="mod">
          <ac:chgData name="Jithin Mohan [UNext]" userId="385dd2b6-d5cf-4598-8587-f7835bad5e0b" providerId="ADAL" clId="{E895FC88-B9ED-48F8-9240-BBEAD452ABB4}" dt="2026-01-08T05:58:42.980" v="969"/>
          <ac:spMkLst>
            <pc:docMk/>
            <pc:sldMk cId="1503004092" sldId="2147375984"/>
            <ac:spMk id="4" creationId="{3E7F068C-7331-4C29-982C-3427FBB32AA9}"/>
          </ac:spMkLst>
        </pc:spChg>
        <pc:graphicFrameChg chg="del">
          <ac:chgData name="Jithin Mohan [UNext]" userId="385dd2b6-d5cf-4598-8587-f7835bad5e0b" providerId="ADAL" clId="{E895FC88-B9ED-48F8-9240-BBEAD452ABB4}" dt="2026-01-08T05:58:57.053" v="970" actId="478"/>
          <ac:graphicFrameMkLst>
            <pc:docMk/>
            <pc:sldMk cId="1503004092" sldId="2147375984"/>
            <ac:graphicFrameMk id="3" creationId="{F538EBC3-13A7-9E3C-FBA0-30780073E720}"/>
          </ac:graphicFrameMkLst>
        </pc:graphicFrameChg>
        <pc:graphicFrameChg chg="add mod">
          <ac:chgData name="Jithin Mohan [UNext]" userId="385dd2b6-d5cf-4598-8587-f7835bad5e0b" providerId="ADAL" clId="{E895FC88-B9ED-48F8-9240-BBEAD452ABB4}" dt="2026-01-08T05:59:02.021" v="972" actId="1076"/>
          <ac:graphicFrameMkLst>
            <pc:docMk/>
            <pc:sldMk cId="1503004092" sldId="2147375984"/>
            <ac:graphicFrameMk id="5" creationId="{05A2457A-B766-84AA-D29C-AA02F52EA9D5}"/>
          </ac:graphicFrameMkLst>
        </pc:graphicFrameChg>
        <pc:graphicFrameChg chg="del">
          <ac:chgData name="Jithin Mohan [UNext]" userId="385dd2b6-d5cf-4598-8587-f7835bad5e0b" providerId="ADAL" clId="{E895FC88-B9ED-48F8-9240-BBEAD452ABB4}" dt="2026-01-08T05:58:57.053" v="970" actId="478"/>
          <ac:graphicFrameMkLst>
            <pc:docMk/>
            <pc:sldMk cId="1503004092" sldId="2147375984"/>
            <ac:graphicFrameMk id="6" creationId="{73C0D51C-C840-6A2B-1BB4-6A5FC25F5E57}"/>
          </ac:graphicFrameMkLst>
        </pc:graphicFrameChg>
      </pc:sldChg>
      <pc:sldChg chg="add del">
        <pc:chgData name="Jithin Mohan [UNext]" userId="385dd2b6-d5cf-4598-8587-f7835bad5e0b" providerId="ADAL" clId="{E895FC88-B9ED-48F8-9240-BBEAD452ABB4}" dt="2026-01-08T05:58:29.286" v="967"/>
        <pc:sldMkLst>
          <pc:docMk/>
          <pc:sldMk cId="3074185273" sldId="2147375984"/>
        </pc:sldMkLst>
      </pc:sldChg>
      <pc:sldChg chg="addSp delSp modSp add mod">
        <pc:chgData name="Jithin Mohan [UNext]" userId="385dd2b6-d5cf-4598-8587-f7835bad5e0b" providerId="ADAL" clId="{E895FC88-B9ED-48F8-9240-BBEAD452ABB4}" dt="2026-01-08T06:00:14.306" v="1002" actId="1076"/>
        <pc:sldMkLst>
          <pc:docMk/>
          <pc:sldMk cId="419636048" sldId="2147375985"/>
        </pc:sldMkLst>
        <pc:spChg chg="del">
          <ac:chgData name="Jithin Mohan [UNext]" userId="385dd2b6-d5cf-4598-8587-f7835bad5e0b" providerId="ADAL" clId="{E895FC88-B9ED-48F8-9240-BBEAD452ABB4}" dt="2026-01-08T05:59:58.777" v="998" actId="478"/>
          <ac:spMkLst>
            <pc:docMk/>
            <pc:sldMk cId="419636048" sldId="2147375985"/>
            <ac:spMk id="2" creationId="{E755BA7D-197C-E658-B263-37E1D1FA5893}"/>
          </ac:spMkLst>
        </pc:spChg>
        <pc:spChg chg="del">
          <ac:chgData name="Jithin Mohan [UNext]" userId="385dd2b6-d5cf-4598-8587-f7835bad5e0b" providerId="ADAL" clId="{E895FC88-B9ED-48F8-9240-BBEAD452ABB4}" dt="2026-01-08T05:59:58.777" v="998" actId="478"/>
          <ac:spMkLst>
            <pc:docMk/>
            <pc:sldMk cId="419636048" sldId="2147375985"/>
            <ac:spMk id="4" creationId="{884908D0-526B-63E3-8A4D-54979DD24FEE}"/>
          </ac:spMkLst>
        </pc:spChg>
        <pc:spChg chg="del mod">
          <ac:chgData name="Jithin Mohan [UNext]" userId="385dd2b6-d5cf-4598-8587-f7835bad5e0b" providerId="ADAL" clId="{E895FC88-B9ED-48F8-9240-BBEAD452ABB4}" dt="2026-01-08T06:00:01.792" v="1000" actId="478"/>
          <ac:spMkLst>
            <pc:docMk/>
            <pc:sldMk cId="419636048" sldId="2147375985"/>
            <ac:spMk id="6" creationId="{A00F4D9B-5359-A974-7001-4E140DBE32FA}"/>
          </ac:spMkLst>
        </pc:spChg>
        <pc:spChg chg="add mod">
          <ac:chgData name="Jithin Mohan [UNext]" userId="385dd2b6-d5cf-4598-8587-f7835bad5e0b" providerId="ADAL" clId="{E895FC88-B9ED-48F8-9240-BBEAD452ABB4}" dt="2026-01-08T06:00:14.306" v="1002" actId="1076"/>
          <ac:spMkLst>
            <pc:docMk/>
            <pc:sldMk cId="419636048" sldId="2147375985"/>
            <ac:spMk id="14" creationId="{B0DDC912-E82C-8BB8-A267-469331202711}"/>
          </ac:spMkLst>
        </pc:spChg>
        <pc:spChg chg="add mod">
          <ac:chgData name="Jithin Mohan [UNext]" userId="385dd2b6-d5cf-4598-8587-f7835bad5e0b" providerId="ADAL" clId="{E895FC88-B9ED-48F8-9240-BBEAD452ABB4}" dt="2026-01-08T06:00:14.306" v="1002" actId="1076"/>
          <ac:spMkLst>
            <pc:docMk/>
            <pc:sldMk cId="419636048" sldId="2147375985"/>
            <ac:spMk id="15" creationId="{04CAB6D9-4161-1C44-BADD-7D1138C6C786}"/>
          </ac:spMkLst>
        </pc:spChg>
        <pc:grpChg chg="del">
          <ac:chgData name="Jithin Mohan [UNext]" userId="385dd2b6-d5cf-4598-8587-f7835bad5e0b" providerId="ADAL" clId="{E895FC88-B9ED-48F8-9240-BBEAD452ABB4}" dt="2026-01-08T05:59:58.777" v="998" actId="478"/>
          <ac:grpSpMkLst>
            <pc:docMk/>
            <pc:sldMk cId="419636048" sldId="2147375985"/>
            <ac:grpSpMk id="3" creationId="{E47ED5BC-95CC-FD47-D7A1-9DFF150BC861}"/>
          </ac:grpSpMkLst>
        </pc:grpChg>
        <pc:grpChg chg="del">
          <ac:chgData name="Jithin Mohan [UNext]" userId="385dd2b6-d5cf-4598-8587-f7835bad5e0b" providerId="ADAL" clId="{E895FC88-B9ED-48F8-9240-BBEAD452ABB4}" dt="2026-01-08T05:59:58.777" v="998" actId="478"/>
          <ac:grpSpMkLst>
            <pc:docMk/>
            <pc:sldMk cId="419636048" sldId="2147375985"/>
            <ac:grpSpMk id="5" creationId="{84193DBC-1B90-257D-A19E-7DAD31DFF161}"/>
          </ac:grpSpMkLst>
        </pc:grpChg>
        <pc:grpChg chg="del">
          <ac:chgData name="Jithin Mohan [UNext]" userId="385dd2b6-d5cf-4598-8587-f7835bad5e0b" providerId="ADAL" clId="{E895FC88-B9ED-48F8-9240-BBEAD452ABB4}" dt="2026-01-08T05:59:58.777" v="998" actId="478"/>
          <ac:grpSpMkLst>
            <pc:docMk/>
            <pc:sldMk cId="419636048" sldId="2147375985"/>
            <ac:grpSpMk id="7" creationId="{7911EABA-4C36-66A9-358A-AA5CD4228463}"/>
          </ac:grpSpMkLst>
        </pc:grpChg>
      </pc:sldChg>
      <pc:sldChg chg="addSp delSp modSp add mod">
        <pc:chgData name="Jithin Mohan [UNext]" userId="385dd2b6-d5cf-4598-8587-f7835bad5e0b" providerId="ADAL" clId="{E895FC88-B9ED-48F8-9240-BBEAD452ABB4}" dt="2026-01-08T06:01:38.167" v="1013" actId="1076"/>
        <pc:sldMkLst>
          <pc:docMk/>
          <pc:sldMk cId="700998917" sldId="2147375986"/>
        </pc:sldMkLst>
        <pc:spChg chg="del">
          <ac:chgData name="Jithin Mohan [UNext]" userId="385dd2b6-d5cf-4598-8587-f7835bad5e0b" providerId="ADAL" clId="{E895FC88-B9ED-48F8-9240-BBEAD452ABB4}" dt="2026-01-08T06:00:37.389" v="1005" actId="478"/>
          <ac:spMkLst>
            <pc:docMk/>
            <pc:sldMk cId="700998917" sldId="2147375986"/>
            <ac:spMk id="2" creationId="{4D21B02A-0027-3EBD-1CD5-E4D4E36EBDFA}"/>
          </ac:spMkLst>
        </pc:spChg>
        <pc:spChg chg="add mod">
          <ac:chgData name="Jithin Mohan [UNext]" userId="385dd2b6-d5cf-4598-8587-f7835bad5e0b" providerId="ADAL" clId="{E895FC88-B9ED-48F8-9240-BBEAD452ABB4}" dt="2026-01-08T06:01:10.443" v="1007"/>
          <ac:spMkLst>
            <pc:docMk/>
            <pc:sldMk cId="700998917" sldId="2147375986"/>
            <ac:spMk id="3" creationId="{F4C7C07E-FC32-B058-0278-7F3D491ACB77}"/>
          </ac:spMkLst>
        </pc:spChg>
        <pc:spChg chg="mod">
          <ac:chgData name="Jithin Mohan [UNext]" userId="385dd2b6-d5cf-4598-8587-f7835bad5e0b" providerId="ADAL" clId="{E895FC88-B9ED-48F8-9240-BBEAD452ABB4}" dt="2026-01-08T06:00:47.058" v="1006"/>
          <ac:spMkLst>
            <pc:docMk/>
            <pc:sldMk cId="700998917" sldId="2147375986"/>
            <ac:spMk id="4" creationId="{3E7F068C-7331-4C29-982C-3427FBB32AA9}"/>
          </ac:spMkLst>
        </pc:spChg>
        <pc:spChg chg="add mod">
          <ac:chgData name="Jithin Mohan [UNext]" userId="385dd2b6-d5cf-4598-8587-f7835bad5e0b" providerId="ADAL" clId="{E895FC88-B9ED-48F8-9240-BBEAD452ABB4}" dt="2026-01-08T06:01:38.167" v="1013" actId="1076"/>
          <ac:spMkLst>
            <pc:docMk/>
            <pc:sldMk cId="700998917" sldId="2147375986"/>
            <ac:spMk id="6" creationId="{C28F2F93-7E6E-153B-19A2-19039885B647}"/>
          </ac:spMkLst>
        </pc:spChg>
        <pc:graphicFrameChg chg="del">
          <ac:chgData name="Jithin Mohan [UNext]" userId="385dd2b6-d5cf-4598-8587-f7835bad5e0b" providerId="ADAL" clId="{E895FC88-B9ED-48F8-9240-BBEAD452ABB4}" dt="2026-01-08T06:00:37.389" v="1005" actId="478"/>
          <ac:graphicFrameMkLst>
            <pc:docMk/>
            <pc:sldMk cId="700998917" sldId="2147375986"/>
            <ac:graphicFrameMk id="5" creationId="{05A2457A-B766-84AA-D29C-AA02F52EA9D5}"/>
          </ac:graphicFrameMkLst>
        </pc:graphicFrameChg>
      </pc:sldChg>
      <pc:sldChg chg="addSp delSp modSp add mod">
        <pc:chgData name="Jithin Mohan [UNext]" userId="385dd2b6-d5cf-4598-8587-f7835bad5e0b" providerId="ADAL" clId="{E895FC88-B9ED-48F8-9240-BBEAD452ABB4}" dt="2026-01-08T06:06:42.323" v="1034" actId="1076"/>
        <pc:sldMkLst>
          <pc:docMk/>
          <pc:sldMk cId="2534267513" sldId="2147375987"/>
        </pc:sldMkLst>
        <pc:spChg chg="add mod">
          <ac:chgData name="Jithin Mohan [UNext]" userId="385dd2b6-d5cf-4598-8587-f7835bad5e0b" providerId="ADAL" clId="{E895FC88-B9ED-48F8-9240-BBEAD452ABB4}" dt="2026-01-08T06:06:01.667" v="1020"/>
          <ac:spMkLst>
            <pc:docMk/>
            <pc:sldMk cId="2534267513" sldId="2147375987"/>
            <ac:spMk id="2" creationId="{BFCFC319-98CE-1F9F-73FC-F473F78DDCD9}"/>
          </ac:spMkLst>
        </pc:spChg>
        <pc:spChg chg="mod">
          <ac:chgData name="Jithin Mohan [UNext]" userId="385dd2b6-d5cf-4598-8587-f7835bad5e0b" providerId="ADAL" clId="{E895FC88-B9ED-48F8-9240-BBEAD452ABB4}" dt="2026-01-08T06:06:36.322" v="1033" actId="14100"/>
          <ac:spMkLst>
            <pc:docMk/>
            <pc:sldMk cId="2534267513" sldId="2147375987"/>
            <ac:spMk id="3" creationId="{F4C7C07E-FC32-B058-0278-7F3D491ACB77}"/>
          </ac:spMkLst>
        </pc:spChg>
        <pc:spChg chg="mod">
          <ac:chgData name="Jithin Mohan [UNext]" userId="385dd2b6-d5cf-4598-8587-f7835bad5e0b" providerId="ADAL" clId="{E895FC88-B9ED-48F8-9240-BBEAD452ABB4}" dt="2026-01-08T06:05:32.364" v="1016"/>
          <ac:spMkLst>
            <pc:docMk/>
            <pc:sldMk cId="2534267513" sldId="2147375987"/>
            <ac:spMk id="4" creationId="{3E7F068C-7331-4C29-982C-3427FBB32AA9}"/>
          </ac:spMkLst>
        </pc:spChg>
        <pc:spChg chg="add mod">
          <ac:chgData name="Jithin Mohan [UNext]" userId="385dd2b6-d5cf-4598-8587-f7835bad5e0b" providerId="ADAL" clId="{E895FC88-B9ED-48F8-9240-BBEAD452ABB4}" dt="2026-01-08T06:06:42.323" v="1034" actId="1076"/>
          <ac:spMkLst>
            <pc:docMk/>
            <pc:sldMk cId="2534267513" sldId="2147375987"/>
            <ac:spMk id="5" creationId="{BC19E291-D38A-7666-4949-87739D353EE8}"/>
          </ac:spMkLst>
        </pc:spChg>
        <pc:spChg chg="del">
          <ac:chgData name="Jithin Mohan [UNext]" userId="385dd2b6-d5cf-4598-8587-f7835bad5e0b" providerId="ADAL" clId="{E895FC88-B9ED-48F8-9240-BBEAD452ABB4}" dt="2026-01-08T06:06:03.568" v="1021" actId="478"/>
          <ac:spMkLst>
            <pc:docMk/>
            <pc:sldMk cId="2534267513" sldId="2147375987"/>
            <ac:spMk id="6" creationId="{C28F2F93-7E6E-153B-19A2-19039885B647}"/>
          </ac:spMkLst>
        </pc:spChg>
      </pc:sldChg>
      <pc:sldChg chg="add del">
        <pc:chgData name="Jithin Mohan [UNext]" userId="385dd2b6-d5cf-4598-8587-f7835bad5e0b" providerId="ADAL" clId="{E895FC88-B9ED-48F8-9240-BBEAD452ABB4}" dt="2026-01-08T06:07:06.531" v="1039"/>
        <pc:sldMkLst>
          <pc:docMk/>
          <pc:sldMk cId="1501260060" sldId="2147375988"/>
        </pc:sldMkLst>
      </pc:sldChg>
      <pc:sldChg chg="add del">
        <pc:chgData name="Jithin Mohan [UNext]" userId="385dd2b6-d5cf-4598-8587-f7835bad5e0b" providerId="ADAL" clId="{E895FC88-B9ED-48F8-9240-BBEAD452ABB4}" dt="2026-01-08T06:06:54.655" v="1037" actId="2890"/>
        <pc:sldMkLst>
          <pc:docMk/>
          <pc:sldMk cId="1546801028" sldId="2147375988"/>
        </pc:sldMkLst>
      </pc:sldChg>
      <pc:sldChg chg="modSp add mod ord modNotesTx">
        <pc:chgData name="Jithin Mohan [UNext]" userId="385dd2b6-d5cf-4598-8587-f7835bad5e0b" providerId="ADAL" clId="{E895FC88-B9ED-48F8-9240-BBEAD452ABB4}" dt="2026-01-08T06:07:40.408" v="1046"/>
        <pc:sldMkLst>
          <pc:docMk/>
          <pc:sldMk cId="2305914472" sldId="2147375988"/>
        </pc:sldMkLst>
        <pc:spChg chg="mod">
          <ac:chgData name="Jithin Mohan [UNext]" userId="385dd2b6-d5cf-4598-8587-f7835bad5e0b" providerId="ADAL" clId="{E895FC88-B9ED-48F8-9240-BBEAD452ABB4}" dt="2026-01-08T06:07:17.104" v="1041"/>
          <ac:spMkLst>
            <pc:docMk/>
            <pc:sldMk cId="2305914472" sldId="2147375988"/>
            <ac:spMk id="8" creationId="{F652B623-5918-340B-CD66-D9BB3D0EE86A}"/>
          </ac:spMkLst>
        </pc:spChg>
      </pc:sldChg>
      <pc:sldChg chg="addSp modSp add mod">
        <pc:chgData name="Jithin Mohan [UNext]" userId="385dd2b6-d5cf-4598-8587-f7835bad5e0b" providerId="ADAL" clId="{E895FC88-B9ED-48F8-9240-BBEAD452ABB4}" dt="2026-01-08T06:08:46.569" v="1056" actId="1076"/>
        <pc:sldMkLst>
          <pc:docMk/>
          <pc:sldMk cId="2120095283" sldId="2147375989"/>
        </pc:sldMkLst>
        <pc:spChg chg="add mod">
          <ac:chgData name="Jithin Mohan [UNext]" userId="385dd2b6-d5cf-4598-8587-f7835bad5e0b" providerId="ADAL" clId="{E895FC88-B9ED-48F8-9240-BBEAD452ABB4}" dt="2026-01-08T06:08:02.684" v="1051"/>
          <ac:spMkLst>
            <pc:docMk/>
            <pc:sldMk cId="2120095283" sldId="2147375989"/>
            <ac:spMk id="2" creationId="{59D7FFA9-91C3-8007-82AE-314257225E58}"/>
          </ac:spMkLst>
        </pc:spChg>
        <pc:spChg chg="mod">
          <ac:chgData name="Jithin Mohan [UNext]" userId="385dd2b6-d5cf-4598-8587-f7835bad5e0b" providerId="ADAL" clId="{E895FC88-B9ED-48F8-9240-BBEAD452ABB4}" dt="2026-01-08T06:07:50.518" v="1047"/>
          <ac:spMkLst>
            <pc:docMk/>
            <pc:sldMk cId="2120095283" sldId="2147375989"/>
            <ac:spMk id="4" creationId="{3E7F068C-7331-4C29-982C-3427FBB32AA9}"/>
          </ac:spMkLst>
        </pc:spChg>
        <pc:spChg chg="mod">
          <ac:chgData name="Jithin Mohan [UNext]" userId="385dd2b6-d5cf-4598-8587-f7835bad5e0b" providerId="ADAL" clId="{E895FC88-B9ED-48F8-9240-BBEAD452ABB4}" dt="2026-01-08T06:08:46.569" v="1056" actId="1076"/>
          <ac:spMkLst>
            <pc:docMk/>
            <pc:sldMk cId="2120095283" sldId="2147375989"/>
            <ac:spMk id="5" creationId="{BC19E291-D38A-7666-4949-87739D353EE8}"/>
          </ac:spMkLst>
        </pc:spChg>
      </pc:sldChg>
      <pc:sldChg chg="addSp modSp add mod">
        <pc:chgData name="Jithin Mohan [UNext]" userId="385dd2b6-d5cf-4598-8587-f7835bad5e0b" providerId="ADAL" clId="{E895FC88-B9ED-48F8-9240-BBEAD452ABB4}" dt="2026-01-08T06:09:41.646" v="1070" actId="1076"/>
        <pc:sldMkLst>
          <pc:docMk/>
          <pc:sldMk cId="3208047255" sldId="2147375990"/>
        </pc:sldMkLst>
        <pc:spChg chg="add mod">
          <ac:chgData name="Jithin Mohan [UNext]" userId="385dd2b6-d5cf-4598-8587-f7835bad5e0b" providerId="ADAL" clId="{E895FC88-B9ED-48F8-9240-BBEAD452ABB4}" dt="2026-01-08T06:09:23.941" v="1063"/>
          <ac:spMkLst>
            <pc:docMk/>
            <pc:sldMk cId="3208047255" sldId="2147375990"/>
            <ac:spMk id="2" creationId="{2EB92363-D654-F075-56A9-6716B03896F4}"/>
          </ac:spMkLst>
        </pc:spChg>
        <pc:spChg chg="mod">
          <ac:chgData name="Jithin Mohan [UNext]" userId="385dd2b6-d5cf-4598-8587-f7835bad5e0b" providerId="ADAL" clId="{E895FC88-B9ED-48F8-9240-BBEAD452ABB4}" dt="2026-01-08T06:09:11.106" v="1059"/>
          <ac:spMkLst>
            <pc:docMk/>
            <pc:sldMk cId="3208047255" sldId="2147375990"/>
            <ac:spMk id="4" creationId="{3E7F068C-7331-4C29-982C-3427FBB32AA9}"/>
          </ac:spMkLst>
        </pc:spChg>
        <pc:spChg chg="mod">
          <ac:chgData name="Jithin Mohan [UNext]" userId="385dd2b6-d5cf-4598-8587-f7835bad5e0b" providerId="ADAL" clId="{E895FC88-B9ED-48F8-9240-BBEAD452ABB4}" dt="2026-01-08T06:09:41.646" v="1070" actId="1076"/>
          <ac:spMkLst>
            <pc:docMk/>
            <pc:sldMk cId="3208047255" sldId="2147375990"/>
            <ac:spMk id="5" creationId="{BC19E291-D38A-7666-4949-87739D353EE8}"/>
          </ac:spMkLst>
        </pc:spChg>
      </pc:sldChg>
      <pc:sldChg chg="modSp add mod">
        <pc:chgData name="Jithin Mohan [UNext]" userId="385dd2b6-d5cf-4598-8587-f7835bad5e0b" providerId="ADAL" clId="{E895FC88-B9ED-48F8-9240-BBEAD452ABB4}" dt="2026-01-08T06:10:55.212" v="1087" actId="1076"/>
        <pc:sldMkLst>
          <pc:docMk/>
          <pc:sldMk cId="1706411740" sldId="2147375991"/>
        </pc:sldMkLst>
        <pc:spChg chg="mod">
          <ac:chgData name="Jithin Mohan [UNext]" userId="385dd2b6-d5cf-4598-8587-f7835bad5e0b" providerId="ADAL" clId="{E895FC88-B9ED-48F8-9240-BBEAD452ABB4}" dt="2026-01-08T06:10:55.212" v="1087" actId="1076"/>
          <ac:spMkLst>
            <pc:docMk/>
            <pc:sldMk cId="1706411740" sldId="2147375991"/>
            <ac:spMk id="5" creationId="{BC19E291-D38A-7666-4949-87739D353EE8}"/>
          </ac:spMkLst>
        </pc:spChg>
      </pc:sldChg>
      <pc:sldChg chg="modSp add mod">
        <pc:chgData name="Jithin Mohan [UNext]" userId="385dd2b6-d5cf-4598-8587-f7835bad5e0b" providerId="ADAL" clId="{E895FC88-B9ED-48F8-9240-BBEAD452ABB4}" dt="2026-01-08T06:11:54.696" v="1101" actId="1076"/>
        <pc:sldMkLst>
          <pc:docMk/>
          <pc:sldMk cId="36113328" sldId="2147375992"/>
        </pc:sldMkLst>
        <pc:spChg chg="mod">
          <ac:chgData name="Jithin Mohan [UNext]" userId="385dd2b6-d5cf-4598-8587-f7835bad5e0b" providerId="ADAL" clId="{E895FC88-B9ED-48F8-9240-BBEAD452ABB4}" dt="2026-01-08T06:11:54.696" v="1101" actId="1076"/>
          <ac:spMkLst>
            <pc:docMk/>
            <pc:sldMk cId="36113328" sldId="2147375992"/>
            <ac:spMk id="5" creationId="{BC19E291-D38A-7666-4949-87739D353EE8}"/>
          </ac:spMkLst>
        </pc:spChg>
      </pc:sldChg>
      <pc:sldChg chg="modSp add mod">
        <pc:chgData name="Jithin Mohan [UNext]" userId="385dd2b6-d5cf-4598-8587-f7835bad5e0b" providerId="ADAL" clId="{E895FC88-B9ED-48F8-9240-BBEAD452ABB4}" dt="2026-01-08T06:15:15.556" v="1113" actId="1076"/>
        <pc:sldMkLst>
          <pc:docMk/>
          <pc:sldMk cId="3586081180" sldId="2147375993"/>
        </pc:sldMkLst>
        <pc:spChg chg="mod">
          <ac:chgData name="Jithin Mohan [UNext]" userId="385dd2b6-d5cf-4598-8587-f7835bad5e0b" providerId="ADAL" clId="{E895FC88-B9ED-48F8-9240-BBEAD452ABB4}" dt="2026-01-08T06:14:51.725" v="1105"/>
          <ac:spMkLst>
            <pc:docMk/>
            <pc:sldMk cId="3586081180" sldId="2147375993"/>
            <ac:spMk id="4" creationId="{3E7F068C-7331-4C29-982C-3427FBB32AA9}"/>
          </ac:spMkLst>
        </pc:spChg>
        <pc:spChg chg="mod">
          <ac:chgData name="Jithin Mohan [UNext]" userId="385dd2b6-d5cf-4598-8587-f7835bad5e0b" providerId="ADAL" clId="{E895FC88-B9ED-48F8-9240-BBEAD452ABB4}" dt="2026-01-08T06:15:15.556" v="1113" actId="1076"/>
          <ac:spMkLst>
            <pc:docMk/>
            <pc:sldMk cId="3586081180" sldId="2147375993"/>
            <ac:spMk id="5" creationId="{BC19E291-D38A-7666-4949-87739D353EE8}"/>
          </ac:spMkLst>
        </pc:spChg>
      </pc:sldChg>
      <pc:sldChg chg="modSp add mod">
        <pc:chgData name="Jithin Mohan [UNext]" userId="385dd2b6-d5cf-4598-8587-f7835bad5e0b" providerId="ADAL" clId="{E895FC88-B9ED-48F8-9240-BBEAD452ABB4}" dt="2026-01-08T06:16:11.321" v="1127" actId="1076"/>
        <pc:sldMkLst>
          <pc:docMk/>
          <pc:sldMk cId="898297011" sldId="2147375994"/>
        </pc:sldMkLst>
        <pc:spChg chg="mod">
          <ac:chgData name="Jithin Mohan [UNext]" userId="385dd2b6-d5cf-4598-8587-f7835bad5e0b" providerId="ADAL" clId="{E895FC88-B9ED-48F8-9240-BBEAD452ABB4}" dt="2026-01-08T06:15:36.902" v="1116"/>
          <ac:spMkLst>
            <pc:docMk/>
            <pc:sldMk cId="898297011" sldId="2147375994"/>
            <ac:spMk id="4" creationId="{3E7F068C-7331-4C29-982C-3427FBB32AA9}"/>
          </ac:spMkLst>
        </pc:spChg>
        <pc:spChg chg="mod">
          <ac:chgData name="Jithin Mohan [UNext]" userId="385dd2b6-d5cf-4598-8587-f7835bad5e0b" providerId="ADAL" clId="{E895FC88-B9ED-48F8-9240-BBEAD452ABB4}" dt="2026-01-08T06:16:11.321" v="1127" actId="1076"/>
          <ac:spMkLst>
            <pc:docMk/>
            <pc:sldMk cId="898297011" sldId="2147375994"/>
            <ac:spMk id="5" creationId="{BC19E291-D38A-7666-4949-87739D353EE8}"/>
          </ac:spMkLst>
        </pc:spChg>
      </pc:sldChg>
      <pc:sldChg chg="addSp delSp modSp add mod">
        <pc:chgData name="Jithin Mohan [UNext]" userId="385dd2b6-d5cf-4598-8587-f7835bad5e0b" providerId="ADAL" clId="{E895FC88-B9ED-48F8-9240-BBEAD452ABB4}" dt="2026-01-08T06:17:45.730" v="1162" actId="14100"/>
        <pc:sldMkLst>
          <pc:docMk/>
          <pc:sldMk cId="4053501878" sldId="2147375995"/>
        </pc:sldMkLst>
        <pc:spChg chg="mod">
          <ac:chgData name="Jithin Mohan [UNext]" userId="385dd2b6-d5cf-4598-8587-f7835bad5e0b" providerId="ADAL" clId="{E895FC88-B9ED-48F8-9240-BBEAD452ABB4}" dt="2026-01-08T06:16:29.675" v="1130"/>
          <ac:spMkLst>
            <pc:docMk/>
            <pc:sldMk cId="4053501878" sldId="2147375995"/>
            <ac:spMk id="4" creationId="{3E7F068C-7331-4C29-982C-3427FBB32AA9}"/>
          </ac:spMkLst>
        </pc:spChg>
        <pc:spChg chg="del mod">
          <ac:chgData name="Jithin Mohan [UNext]" userId="385dd2b6-d5cf-4598-8587-f7835bad5e0b" providerId="ADAL" clId="{E895FC88-B9ED-48F8-9240-BBEAD452ABB4}" dt="2026-01-08T06:16:51.220" v="1140" actId="478"/>
          <ac:spMkLst>
            <pc:docMk/>
            <pc:sldMk cId="4053501878" sldId="2147375995"/>
            <ac:spMk id="5" creationId="{BC19E291-D38A-7666-4949-87739D353EE8}"/>
          </ac:spMkLst>
        </pc:spChg>
        <pc:spChg chg="add mod">
          <ac:chgData name="Jithin Mohan [UNext]" userId="385dd2b6-d5cf-4598-8587-f7835bad5e0b" providerId="ADAL" clId="{E895FC88-B9ED-48F8-9240-BBEAD452ABB4}" dt="2026-01-08T06:17:45.730" v="1162" actId="14100"/>
          <ac:spMkLst>
            <pc:docMk/>
            <pc:sldMk cId="4053501878" sldId="2147375995"/>
            <ac:spMk id="6" creationId="{F3080A2B-1191-6E12-58FD-BF37AF58811F}"/>
          </ac:spMkLst>
        </pc:spChg>
      </pc:sldChg>
      <pc:sldChg chg="modSp add mod">
        <pc:chgData name="Jithin Mohan [UNext]" userId="385dd2b6-d5cf-4598-8587-f7835bad5e0b" providerId="ADAL" clId="{E895FC88-B9ED-48F8-9240-BBEAD452ABB4}" dt="2026-01-08T06:18:35.147" v="1172" actId="1076"/>
        <pc:sldMkLst>
          <pc:docMk/>
          <pc:sldMk cId="1024385499" sldId="2147375996"/>
        </pc:sldMkLst>
        <pc:spChg chg="mod">
          <ac:chgData name="Jithin Mohan [UNext]" userId="385dd2b6-d5cf-4598-8587-f7835bad5e0b" providerId="ADAL" clId="{E895FC88-B9ED-48F8-9240-BBEAD452ABB4}" dt="2026-01-08T06:18:35.147" v="1172" actId="1076"/>
          <ac:spMkLst>
            <pc:docMk/>
            <pc:sldMk cId="1024385499" sldId="2147375996"/>
            <ac:spMk id="6" creationId="{F3080A2B-1191-6E12-58FD-BF37AF58811F}"/>
          </ac:spMkLst>
        </pc:spChg>
      </pc:sldChg>
      <pc:sldChg chg="modSp add mod">
        <pc:chgData name="Jithin Mohan [UNext]" userId="385dd2b6-d5cf-4598-8587-f7835bad5e0b" providerId="ADAL" clId="{E895FC88-B9ED-48F8-9240-BBEAD452ABB4}" dt="2026-01-08T06:18:59.533" v="1180" actId="403"/>
        <pc:sldMkLst>
          <pc:docMk/>
          <pc:sldMk cId="1217314600" sldId="2147375997"/>
        </pc:sldMkLst>
        <pc:spChg chg="mod">
          <ac:chgData name="Jithin Mohan [UNext]" userId="385dd2b6-d5cf-4598-8587-f7835bad5e0b" providerId="ADAL" clId="{E895FC88-B9ED-48F8-9240-BBEAD452ABB4}" dt="2026-01-08T06:18:59.533" v="1180" actId="403"/>
          <ac:spMkLst>
            <pc:docMk/>
            <pc:sldMk cId="1217314600" sldId="2147375997"/>
            <ac:spMk id="6" creationId="{F3080A2B-1191-6E12-58FD-BF37AF58811F}"/>
          </ac:spMkLst>
        </pc:spChg>
      </pc:sldChg>
      <pc:sldChg chg="addSp delSp modSp add mod">
        <pc:chgData name="Jithin Mohan [UNext]" userId="385dd2b6-d5cf-4598-8587-f7835bad5e0b" providerId="ADAL" clId="{E895FC88-B9ED-48F8-9240-BBEAD452ABB4}" dt="2026-01-08T06:19:55.124" v="1189"/>
        <pc:sldMkLst>
          <pc:docMk/>
          <pc:sldMk cId="931018130" sldId="2147375998"/>
        </pc:sldMkLst>
        <pc:spChg chg="del">
          <ac:chgData name="Jithin Mohan [UNext]" userId="385dd2b6-d5cf-4598-8587-f7835bad5e0b" providerId="ADAL" clId="{E895FC88-B9ED-48F8-9240-BBEAD452ABB4}" dt="2026-01-08T06:19:25.212" v="1183" actId="478"/>
          <ac:spMkLst>
            <pc:docMk/>
            <pc:sldMk cId="931018130" sldId="2147375998"/>
            <ac:spMk id="6" creationId="{F3080A2B-1191-6E12-58FD-BF37AF58811F}"/>
          </ac:spMkLst>
        </pc:spChg>
        <pc:graphicFrameChg chg="add mod modGraphic">
          <ac:chgData name="Jithin Mohan [UNext]" userId="385dd2b6-d5cf-4598-8587-f7835bad5e0b" providerId="ADAL" clId="{E895FC88-B9ED-48F8-9240-BBEAD452ABB4}" dt="2026-01-08T06:19:55.124" v="1189"/>
          <ac:graphicFrameMkLst>
            <pc:docMk/>
            <pc:sldMk cId="931018130" sldId="2147375998"/>
            <ac:graphicFrameMk id="2" creationId="{C3384712-79F9-EAD6-55DA-5BF5C14A6B4C}"/>
          </ac:graphicFrameMkLst>
        </pc:graphicFrameChg>
      </pc:sldChg>
      <pc:sldChg chg="addSp delSp modSp add mod">
        <pc:chgData name="Jithin Mohan [UNext]" userId="385dd2b6-d5cf-4598-8587-f7835bad5e0b" providerId="ADAL" clId="{E895FC88-B9ED-48F8-9240-BBEAD452ABB4}" dt="2026-01-08T06:20:47.603" v="1196" actId="1076"/>
        <pc:sldMkLst>
          <pc:docMk/>
          <pc:sldMk cId="3954919197" sldId="2147375999"/>
        </pc:sldMkLst>
        <pc:spChg chg="mod">
          <ac:chgData name="Jithin Mohan [UNext]" userId="385dd2b6-d5cf-4598-8587-f7835bad5e0b" providerId="ADAL" clId="{E895FC88-B9ED-48F8-9240-BBEAD452ABB4}" dt="2026-01-08T06:20:31.303" v="1193"/>
          <ac:spMkLst>
            <pc:docMk/>
            <pc:sldMk cId="3954919197" sldId="2147375999"/>
            <ac:spMk id="4" creationId="{3E7F068C-7331-4C29-982C-3427FBB32AA9}"/>
          </ac:spMkLst>
        </pc:spChg>
        <pc:graphicFrameChg chg="del">
          <ac:chgData name="Jithin Mohan [UNext]" userId="385dd2b6-d5cf-4598-8587-f7835bad5e0b" providerId="ADAL" clId="{E895FC88-B9ED-48F8-9240-BBEAD452ABB4}" dt="2026-01-08T06:20:21.705" v="1192" actId="478"/>
          <ac:graphicFrameMkLst>
            <pc:docMk/>
            <pc:sldMk cId="3954919197" sldId="2147375999"/>
            <ac:graphicFrameMk id="2" creationId="{C3384712-79F9-EAD6-55DA-5BF5C14A6B4C}"/>
          </ac:graphicFrameMkLst>
        </pc:graphicFrameChg>
        <pc:picChg chg="add mod">
          <ac:chgData name="Jithin Mohan [UNext]" userId="385dd2b6-d5cf-4598-8587-f7835bad5e0b" providerId="ADAL" clId="{E895FC88-B9ED-48F8-9240-BBEAD452ABB4}" dt="2026-01-08T06:20:47.603" v="1196" actId="1076"/>
          <ac:picMkLst>
            <pc:docMk/>
            <pc:sldMk cId="3954919197" sldId="2147375999"/>
            <ac:picMk id="5" creationId="{67601584-D571-A91C-A276-B18A609A1094}"/>
          </ac:picMkLst>
        </pc:picChg>
      </pc:sldChg>
      <pc:sldChg chg="addSp delSp modSp add mod ord">
        <pc:chgData name="Jithin Mohan [UNext]" userId="385dd2b6-d5cf-4598-8587-f7835bad5e0b" providerId="ADAL" clId="{E895FC88-B9ED-48F8-9240-BBEAD452ABB4}" dt="2026-01-08T06:22:01.618" v="1215" actId="14100"/>
        <pc:sldMkLst>
          <pc:docMk/>
          <pc:sldMk cId="996992153" sldId="2147376000"/>
        </pc:sldMkLst>
        <pc:spChg chg="mod">
          <ac:chgData name="Jithin Mohan [UNext]" userId="385dd2b6-d5cf-4598-8587-f7835bad5e0b" providerId="ADAL" clId="{E895FC88-B9ED-48F8-9240-BBEAD452ABB4}" dt="2026-01-08T06:21:23.307" v="1203"/>
          <ac:spMkLst>
            <pc:docMk/>
            <pc:sldMk cId="996992153" sldId="2147376000"/>
            <ac:spMk id="4" creationId="{3E7F068C-7331-4C29-982C-3427FBB32AA9}"/>
          </ac:spMkLst>
        </pc:spChg>
        <pc:spChg chg="add mod">
          <ac:chgData name="Jithin Mohan [UNext]" userId="385dd2b6-d5cf-4598-8587-f7835bad5e0b" providerId="ADAL" clId="{E895FC88-B9ED-48F8-9240-BBEAD452ABB4}" dt="2026-01-08T06:22:01.618" v="1215" actId="14100"/>
          <ac:spMkLst>
            <pc:docMk/>
            <pc:sldMk cId="996992153" sldId="2147376000"/>
            <ac:spMk id="6" creationId="{C92BEE83-364B-AE97-10BD-692C69BF1637}"/>
          </ac:spMkLst>
        </pc:spChg>
        <pc:picChg chg="del">
          <ac:chgData name="Jithin Mohan [UNext]" userId="385dd2b6-d5cf-4598-8587-f7835bad5e0b" providerId="ADAL" clId="{E895FC88-B9ED-48F8-9240-BBEAD452ABB4}" dt="2026-01-08T06:21:31.569" v="1204" actId="478"/>
          <ac:picMkLst>
            <pc:docMk/>
            <pc:sldMk cId="996992153" sldId="2147376000"/>
            <ac:picMk id="5" creationId="{67601584-D571-A91C-A276-B18A609A1094}"/>
          </ac:picMkLst>
        </pc:picChg>
      </pc:sldChg>
      <pc:sldChg chg="modSp add mod">
        <pc:chgData name="Jithin Mohan [UNext]" userId="385dd2b6-d5cf-4598-8587-f7835bad5e0b" providerId="ADAL" clId="{E895FC88-B9ED-48F8-9240-BBEAD452ABB4}" dt="2026-01-08T06:22:51.309" v="1227" actId="403"/>
        <pc:sldMkLst>
          <pc:docMk/>
          <pc:sldMk cId="627682287" sldId="2147376001"/>
        </pc:sldMkLst>
        <pc:spChg chg="mod">
          <ac:chgData name="Jithin Mohan [UNext]" userId="385dd2b6-d5cf-4598-8587-f7835bad5e0b" providerId="ADAL" clId="{E895FC88-B9ED-48F8-9240-BBEAD452ABB4}" dt="2026-01-08T06:22:19.922" v="1218"/>
          <ac:spMkLst>
            <pc:docMk/>
            <pc:sldMk cId="627682287" sldId="2147376001"/>
            <ac:spMk id="4" creationId="{3E7F068C-7331-4C29-982C-3427FBB32AA9}"/>
          </ac:spMkLst>
        </pc:spChg>
        <pc:spChg chg="mod">
          <ac:chgData name="Jithin Mohan [UNext]" userId="385dd2b6-d5cf-4598-8587-f7835bad5e0b" providerId="ADAL" clId="{E895FC88-B9ED-48F8-9240-BBEAD452ABB4}" dt="2026-01-08T06:22:51.309" v="1227" actId="403"/>
          <ac:spMkLst>
            <pc:docMk/>
            <pc:sldMk cId="627682287" sldId="2147376001"/>
            <ac:spMk id="6" creationId="{C92BEE83-364B-AE97-10BD-692C69BF1637}"/>
          </ac:spMkLst>
        </pc:spChg>
      </pc:sldChg>
      <pc:sldChg chg="modSp add mod">
        <pc:chgData name="Jithin Mohan [UNext]" userId="385dd2b6-d5cf-4598-8587-f7835bad5e0b" providerId="ADAL" clId="{E895FC88-B9ED-48F8-9240-BBEAD452ABB4}" dt="2026-01-08T10:52:39.888" v="1234" actId="20577"/>
        <pc:sldMkLst>
          <pc:docMk/>
          <pc:sldMk cId="1128256670" sldId="2147376002"/>
        </pc:sldMkLst>
        <pc:spChg chg="mod">
          <ac:chgData name="Jithin Mohan [UNext]" userId="385dd2b6-d5cf-4598-8587-f7835bad5e0b" providerId="ADAL" clId="{E895FC88-B9ED-48F8-9240-BBEAD452ABB4}" dt="2026-01-08T10:52:39.888" v="1234" actId="20577"/>
          <ac:spMkLst>
            <pc:docMk/>
            <pc:sldMk cId="1128256670" sldId="2147376002"/>
            <ac:spMk id="6" creationId="{C92BEE83-364B-AE97-10BD-692C69BF1637}"/>
          </ac:spMkLst>
        </pc:spChg>
      </pc:sldChg>
      <pc:sldChg chg="addSp delSp modSp add mod">
        <pc:chgData name="Jithin Mohan [UNext]" userId="385dd2b6-d5cf-4598-8587-f7835bad5e0b" providerId="ADAL" clId="{E895FC88-B9ED-48F8-9240-BBEAD452ABB4}" dt="2026-01-08T10:53:02.699" v="1239" actId="1076"/>
        <pc:sldMkLst>
          <pc:docMk/>
          <pc:sldMk cId="335671679" sldId="2147376003"/>
        </pc:sldMkLst>
        <pc:spChg chg="del">
          <ac:chgData name="Jithin Mohan [UNext]" userId="385dd2b6-d5cf-4598-8587-f7835bad5e0b" providerId="ADAL" clId="{E895FC88-B9ED-48F8-9240-BBEAD452ABB4}" dt="2026-01-08T10:52:57.607" v="1237" actId="478"/>
          <ac:spMkLst>
            <pc:docMk/>
            <pc:sldMk cId="335671679" sldId="2147376003"/>
            <ac:spMk id="6" creationId="{C92BEE83-364B-AE97-10BD-692C69BF1637}"/>
          </ac:spMkLst>
        </pc:spChg>
        <pc:picChg chg="add mod">
          <ac:chgData name="Jithin Mohan [UNext]" userId="385dd2b6-d5cf-4598-8587-f7835bad5e0b" providerId="ADAL" clId="{E895FC88-B9ED-48F8-9240-BBEAD452ABB4}" dt="2026-01-08T10:53:02.699" v="1239" actId="1076"/>
          <ac:picMkLst>
            <pc:docMk/>
            <pc:sldMk cId="335671679" sldId="2147376003"/>
            <ac:picMk id="2" creationId="{B11FB4DD-712E-105C-00BD-1085EBFA93D5}"/>
          </ac:picMkLst>
        </pc:picChg>
      </pc:sldChg>
      <pc:sldChg chg="addSp delSp modSp add mod">
        <pc:chgData name="Jithin Mohan [UNext]" userId="385dd2b6-d5cf-4598-8587-f7835bad5e0b" providerId="ADAL" clId="{E895FC88-B9ED-48F8-9240-BBEAD452ABB4}" dt="2026-01-08T10:54:43.484" v="1264" actId="1076"/>
        <pc:sldMkLst>
          <pc:docMk/>
          <pc:sldMk cId="2044235546" sldId="2147376004"/>
        </pc:sldMkLst>
        <pc:spChg chg="mod">
          <ac:chgData name="Jithin Mohan [UNext]" userId="385dd2b6-d5cf-4598-8587-f7835bad5e0b" providerId="ADAL" clId="{E895FC88-B9ED-48F8-9240-BBEAD452ABB4}" dt="2026-01-08T10:54:04.431" v="1262" actId="1076"/>
          <ac:spMkLst>
            <pc:docMk/>
            <pc:sldMk cId="2044235546" sldId="2147376004"/>
            <ac:spMk id="3" creationId="{F4C7C07E-FC32-B058-0278-7F3D491ACB77}"/>
          </ac:spMkLst>
        </pc:spChg>
        <pc:spChg chg="mod">
          <ac:chgData name="Jithin Mohan [UNext]" userId="385dd2b6-d5cf-4598-8587-f7835bad5e0b" providerId="ADAL" clId="{E895FC88-B9ED-48F8-9240-BBEAD452ABB4}" dt="2026-01-08T10:53:18.636" v="1243"/>
          <ac:spMkLst>
            <pc:docMk/>
            <pc:sldMk cId="2044235546" sldId="2147376004"/>
            <ac:spMk id="4" creationId="{3E7F068C-7331-4C29-982C-3427FBB32AA9}"/>
          </ac:spMkLst>
        </pc:spChg>
        <pc:spChg chg="add mod">
          <ac:chgData name="Jithin Mohan [UNext]" userId="385dd2b6-d5cf-4598-8587-f7835bad5e0b" providerId="ADAL" clId="{E895FC88-B9ED-48F8-9240-BBEAD452ABB4}" dt="2026-01-08T10:53:27.350" v="1245"/>
          <ac:spMkLst>
            <pc:docMk/>
            <pc:sldMk cId="2044235546" sldId="2147376004"/>
            <ac:spMk id="5" creationId="{C4620C9C-63DD-AA2E-4133-F5CBF2D44BF8}"/>
          </ac:spMkLst>
        </pc:spChg>
        <pc:spChg chg="add mod">
          <ac:chgData name="Jithin Mohan [UNext]" userId="385dd2b6-d5cf-4598-8587-f7835bad5e0b" providerId="ADAL" clId="{E895FC88-B9ED-48F8-9240-BBEAD452ABB4}" dt="2026-01-08T10:54:43.484" v="1264" actId="1076"/>
          <ac:spMkLst>
            <pc:docMk/>
            <pc:sldMk cId="2044235546" sldId="2147376004"/>
            <ac:spMk id="6" creationId="{F87DB8A1-9D74-8B08-2631-94182EB61769}"/>
          </ac:spMkLst>
        </pc:spChg>
        <pc:picChg chg="del">
          <ac:chgData name="Jithin Mohan [UNext]" userId="385dd2b6-d5cf-4598-8587-f7835bad5e0b" providerId="ADAL" clId="{E895FC88-B9ED-48F8-9240-BBEAD452ABB4}" dt="2026-01-08T10:53:09.542" v="1242" actId="478"/>
          <ac:picMkLst>
            <pc:docMk/>
            <pc:sldMk cId="2044235546" sldId="2147376004"/>
            <ac:picMk id="2" creationId="{B11FB4DD-712E-105C-00BD-1085EBFA93D5}"/>
          </ac:picMkLst>
        </pc:picChg>
      </pc:sldChg>
      <pc:sldChg chg="addSp modSp add mod">
        <pc:chgData name="Jithin Mohan [UNext]" userId="385dd2b6-d5cf-4598-8587-f7835bad5e0b" providerId="ADAL" clId="{E895FC88-B9ED-48F8-9240-BBEAD452ABB4}" dt="2026-01-08T10:55:48.241" v="1291" actId="14100"/>
        <pc:sldMkLst>
          <pc:docMk/>
          <pc:sldMk cId="4224677350" sldId="2147376005"/>
        </pc:sldMkLst>
        <pc:spChg chg="mod">
          <ac:chgData name="Jithin Mohan [UNext]" userId="385dd2b6-d5cf-4598-8587-f7835bad5e0b" providerId="ADAL" clId="{E895FC88-B9ED-48F8-9240-BBEAD452ABB4}" dt="2026-01-08T10:55:26.933" v="1283" actId="1076"/>
          <ac:spMkLst>
            <pc:docMk/>
            <pc:sldMk cId="4224677350" sldId="2147376005"/>
            <ac:spMk id="3" creationId="{F4C7C07E-FC32-B058-0278-7F3D491ACB77}"/>
          </ac:spMkLst>
        </pc:spChg>
        <pc:spChg chg="mod">
          <ac:chgData name="Jithin Mohan [UNext]" userId="385dd2b6-d5cf-4598-8587-f7835bad5e0b" providerId="ADAL" clId="{E895FC88-B9ED-48F8-9240-BBEAD452ABB4}" dt="2026-01-08T10:55:01.205" v="1267"/>
          <ac:spMkLst>
            <pc:docMk/>
            <pc:sldMk cId="4224677350" sldId="2147376005"/>
            <ac:spMk id="4" creationId="{3E7F068C-7331-4C29-982C-3427FBB32AA9}"/>
          </ac:spMkLst>
        </pc:spChg>
        <pc:spChg chg="add mod">
          <ac:chgData name="Jithin Mohan [UNext]" userId="385dd2b6-d5cf-4598-8587-f7835bad5e0b" providerId="ADAL" clId="{E895FC88-B9ED-48F8-9240-BBEAD452ABB4}" dt="2026-01-08T10:55:48.241" v="1291" actId="14100"/>
          <ac:spMkLst>
            <pc:docMk/>
            <pc:sldMk cId="4224677350" sldId="2147376005"/>
            <ac:spMk id="5" creationId="{0F124A66-A69A-8D86-E012-B7AAE9656F1E}"/>
          </ac:spMkLst>
        </pc:spChg>
        <pc:spChg chg="mod">
          <ac:chgData name="Jithin Mohan [UNext]" userId="385dd2b6-d5cf-4598-8587-f7835bad5e0b" providerId="ADAL" clId="{E895FC88-B9ED-48F8-9240-BBEAD452ABB4}" dt="2026-01-08T10:55:24.555" v="1281" actId="27636"/>
          <ac:spMkLst>
            <pc:docMk/>
            <pc:sldMk cId="4224677350" sldId="2147376005"/>
            <ac:spMk id="6" creationId="{F87DB8A1-9D74-8B08-2631-94182EB61769}"/>
          </ac:spMkLst>
        </pc:spChg>
      </pc:sldChg>
      <pc:sldChg chg="modSp add mod">
        <pc:chgData name="Jithin Mohan [UNext]" userId="385dd2b6-d5cf-4598-8587-f7835bad5e0b" providerId="ADAL" clId="{E895FC88-B9ED-48F8-9240-BBEAD452ABB4}" dt="2026-01-08T10:56:41.469" v="1301" actId="1076"/>
        <pc:sldMkLst>
          <pc:docMk/>
          <pc:sldMk cId="2131275417" sldId="2147376006"/>
        </pc:sldMkLst>
        <pc:spChg chg="mod">
          <ac:chgData name="Jithin Mohan [UNext]" userId="385dd2b6-d5cf-4598-8587-f7835bad5e0b" providerId="ADAL" clId="{E895FC88-B9ED-48F8-9240-BBEAD452ABB4}" dt="2026-01-08T10:56:21.685" v="1294"/>
          <ac:spMkLst>
            <pc:docMk/>
            <pc:sldMk cId="2131275417" sldId="2147376006"/>
            <ac:spMk id="4" creationId="{3E7F068C-7331-4C29-982C-3427FBB32AA9}"/>
          </ac:spMkLst>
        </pc:spChg>
        <pc:spChg chg="mod">
          <ac:chgData name="Jithin Mohan [UNext]" userId="385dd2b6-d5cf-4598-8587-f7835bad5e0b" providerId="ADAL" clId="{E895FC88-B9ED-48F8-9240-BBEAD452ABB4}" dt="2026-01-08T10:56:41.469" v="1301" actId="1076"/>
          <ac:spMkLst>
            <pc:docMk/>
            <pc:sldMk cId="2131275417" sldId="2147376006"/>
            <ac:spMk id="5" creationId="{0F124A66-A69A-8D86-E012-B7AAE9656F1E}"/>
          </ac:spMkLst>
        </pc:spChg>
      </pc:sldChg>
      <pc:sldChg chg="modSp add mod ord">
        <pc:chgData name="Jithin Mohan [UNext]" userId="385dd2b6-d5cf-4598-8587-f7835bad5e0b" providerId="ADAL" clId="{E895FC88-B9ED-48F8-9240-BBEAD452ABB4}" dt="2026-01-08T10:58:42.894" v="1308"/>
        <pc:sldMkLst>
          <pc:docMk/>
          <pc:sldMk cId="2349200219" sldId="2147376007"/>
        </pc:sldMkLst>
        <pc:spChg chg="mod">
          <ac:chgData name="Jithin Mohan [UNext]" userId="385dd2b6-d5cf-4598-8587-f7835bad5e0b" providerId="ADAL" clId="{E895FC88-B9ED-48F8-9240-BBEAD452ABB4}" dt="2026-01-08T10:57:07.580" v="1304"/>
          <ac:spMkLst>
            <pc:docMk/>
            <pc:sldMk cId="2349200219" sldId="2147376007"/>
            <ac:spMk id="8" creationId="{F652B623-5918-340B-CD66-D9BB3D0EE86A}"/>
          </ac:spMkLst>
        </pc:spChg>
      </pc:sldChg>
      <pc:sldChg chg="addSp delSp modSp add mod">
        <pc:chgData name="Jithin Mohan [UNext]" userId="385dd2b6-d5cf-4598-8587-f7835bad5e0b" providerId="ADAL" clId="{E895FC88-B9ED-48F8-9240-BBEAD452ABB4}" dt="2026-01-08T10:59:06.069" v="1313" actId="1076"/>
        <pc:sldMkLst>
          <pc:docMk/>
          <pc:sldMk cId="3005277365" sldId="2147376008"/>
        </pc:sldMkLst>
        <pc:spChg chg="add mod">
          <ac:chgData name="Jithin Mohan [UNext]" userId="385dd2b6-d5cf-4598-8587-f7835bad5e0b" providerId="ADAL" clId="{E895FC88-B9ED-48F8-9240-BBEAD452ABB4}" dt="2026-01-08T10:59:06.069" v="1313" actId="1076"/>
          <ac:spMkLst>
            <pc:docMk/>
            <pc:sldMk cId="3005277365" sldId="2147376008"/>
            <ac:spMk id="2" creationId="{FD1806AB-D838-DAEA-4274-967B1F3D2F76}"/>
          </ac:spMkLst>
        </pc:spChg>
        <pc:spChg chg="mod">
          <ac:chgData name="Jithin Mohan [UNext]" userId="385dd2b6-d5cf-4598-8587-f7835bad5e0b" providerId="ADAL" clId="{E895FC88-B9ED-48F8-9240-BBEAD452ABB4}" dt="2026-01-08T10:58:50.555" v="1309"/>
          <ac:spMkLst>
            <pc:docMk/>
            <pc:sldMk cId="3005277365" sldId="2147376008"/>
            <ac:spMk id="4" creationId="{3E7F068C-7331-4C29-982C-3427FBB32AA9}"/>
          </ac:spMkLst>
        </pc:spChg>
        <pc:spChg chg="del">
          <ac:chgData name="Jithin Mohan [UNext]" userId="385dd2b6-d5cf-4598-8587-f7835bad5e0b" providerId="ADAL" clId="{E895FC88-B9ED-48F8-9240-BBEAD452ABB4}" dt="2026-01-08T10:59:00.705" v="1310" actId="478"/>
          <ac:spMkLst>
            <pc:docMk/>
            <pc:sldMk cId="3005277365" sldId="2147376008"/>
            <ac:spMk id="5" creationId="{0F124A66-A69A-8D86-E012-B7AAE9656F1E}"/>
          </ac:spMkLst>
        </pc:spChg>
        <pc:graphicFrameChg chg="add mod">
          <ac:chgData name="Jithin Mohan [UNext]" userId="385dd2b6-d5cf-4598-8587-f7835bad5e0b" providerId="ADAL" clId="{E895FC88-B9ED-48F8-9240-BBEAD452ABB4}" dt="2026-01-08T10:59:06.069" v="1313" actId="1076"/>
          <ac:graphicFrameMkLst>
            <pc:docMk/>
            <pc:sldMk cId="3005277365" sldId="2147376008"/>
            <ac:graphicFrameMk id="7" creationId="{71BFD7C9-7BD6-94F1-7C7F-ED5D619728B1}"/>
          </ac:graphicFrameMkLst>
        </pc:graphicFrameChg>
      </pc:sldChg>
      <pc:sldChg chg="addSp delSp modSp add mod">
        <pc:chgData name="Jithin Mohan [UNext]" userId="385dd2b6-d5cf-4598-8587-f7835bad5e0b" providerId="ADAL" clId="{E895FC88-B9ED-48F8-9240-BBEAD452ABB4}" dt="2026-01-08T11:00:25.541" v="1324" actId="1076"/>
        <pc:sldMkLst>
          <pc:docMk/>
          <pc:sldMk cId="146876168" sldId="2147376009"/>
        </pc:sldMkLst>
        <pc:spChg chg="del">
          <ac:chgData name="Jithin Mohan [UNext]" userId="385dd2b6-d5cf-4598-8587-f7835bad5e0b" providerId="ADAL" clId="{E895FC88-B9ED-48F8-9240-BBEAD452ABB4}" dt="2026-01-08T10:59:51.687" v="1316" actId="478"/>
          <ac:spMkLst>
            <pc:docMk/>
            <pc:sldMk cId="146876168" sldId="2147376009"/>
            <ac:spMk id="2" creationId="{FD1806AB-D838-DAEA-4274-967B1F3D2F76}"/>
          </ac:spMkLst>
        </pc:spChg>
        <pc:spChg chg="mod">
          <ac:chgData name="Jithin Mohan [UNext]" userId="385dd2b6-d5cf-4598-8587-f7835bad5e0b" providerId="ADAL" clId="{E895FC88-B9ED-48F8-9240-BBEAD452ABB4}" dt="2026-01-08T11:00:18.434" v="1321" actId="207"/>
          <ac:spMkLst>
            <pc:docMk/>
            <pc:sldMk cId="146876168" sldId="2147376009"/>
            <ac:spMk id="3" creationId="{F4C7C07E-FC32-B058-0278-7F3D491ACB77}"/>
          </ac:spMkLst>
        </pc:spChg>
        <pc:spChg chg="mod">
          <ac:chgData name="Jithin Mohan [UNext]" userId="385dd2b6-d5cf-4598-8587-f7835bad5e0b" providerId="ADAL" clId="{E895FC88-B9ED-48F8-9240-BBEAD452ABB4}" dt="2026-01-08T11:00:00.140" v="1317"/>
          <ac:spMkLst>
            <pc:docMk/>
            <pc:sldMk cId="146876168" sldId="2147376009"/>
            <ac:spMk id="4" creationId="{3E7F068C-7331-4C29-982C-3427FBB32AA9}"/>
          </ac:spMkLst>
        </pc:spChg>
        <pc:spChg chg="del">
          <ac:chgData name="Jithin Mohan [UNext]" userId="385dd2b6-d5cf-4598-8587-f7835bad5e0b" providerId="ADAL" clId="{E895FC88-B9ED-48F8-9240-BBEAD452ABB4}" dt="2026-01-08T10:59:51.687" v="1316" actId="478"/>
          <ac:spMkLst>
            <pc:docMk/>
            <pc:sldMk cId="146876168" sldId="2147376009"/>
            <ac:spMk id="6" creationId="{F87DB8A1-9D74-8B08-2631-94182EB61769}"/>
          </ac:spMkLst>
        </pc:spChg>
        <pc:graphicFrameChg chg="del">
          <ac:chgData name="Jithin Mohan [UNext]" userId="385dd2b6-d5cf-4598-8587-f7835bad5e0b" providerId="ADAL" clId="{E895FC88-B9ED-48F8-9240-BBEAD452ABB4}" dt="2026-01-08T10:59:51.687" v="1316" actId="478"/>
          <ac:graphicFrameMkLst>
            <pc:docMk/>
            <pc:sldMk cId="146876168" sldId="2147376009"/>
            <ac:graphicFrameMk id="7" creationId="{71BFD7C9-7BD6-94F1-7C7F-ED5D619728B1}"/>
          </ac:graphicFrameMkLst>
        </pc:graphicFrameChg>
        <pc:picChg chg="add mod">
          <ac:chgData name="Jithin Mohan [UNext]" userId="385dd2b6-d5cf-4598-8587-f7835bad5e0b" providerId="ADAL" clId="{E895FC88-B9ED-48F8-9240-BBEAD452ABB4}" dt="2026-01-08T11:00:25.541" v="1324" actId="1076"/>
          <ac:picMkLst>
            <pc:docMk/>
            <pc:sldMk cId="146876168" sldId="2147376009"/>
            <ac:picMk id="5" creationId="{271600E8-461D-3910-F3D7-9E870F261725}"/>
          </ac:picMkLst>
        </pc:picChg>
      </pc:sldChg>
      <pc:sldChg chg="addSp delSp modSp add mod">
        <pc:chgData name="Jithin Mohan [UNext]" userId="385dd2b6-d5cf-4598-8587-f7835bad5e0b" providerId="ADAL" clId="{E895FC88-B9ED-48F8-9240-BBEAD452ABB4}" dt="2026-01-08T11:01:34.893" v="1344" actId="1076"/>
        <pc:sldMkLst>
          <pc:docMk/>
          <pc:sldMk cId="1449615703" sldId="2147376010"/>
        </pc:sldMkLst>
        <pc:spChg chg="add del mod">
          <ac:chgData name="Jithin Mohan [UNext]" userId="385dd2b6-d5cf-4598-8587-f7835bad5e0b" providerId="ADAL" clId="{E895FC88-B9ED-48F8-9240-BBEAD452ABB4}" dt="2026-01-08T11:00:56.751" v="1331" actId="478"/>
          <ac:spMkLst>
            <pc:docMk/>
            <pc:sldMk cId="1449615703" sldId="2147376010"/>
            <ac:spMk id="2" creationId="{59D3CE70-81B6-E95E-5EF1-444770851A6A}"/>
          </ac:spMkLst>
        </pc:spChg>
        <pc:spChg chg="mod">
          <ac:chgData name="Jithin Mohan [UNext]" userId="385dd2b6-d5cf-4598-8587-f7835bad5e0b" providerId="ADAL" clId="{E895FC88-B9ED-48F8-9240-BBEAD452ABB4}" dt="2026-01-08T11:00:43.412" v="1328"/>
          <ac:spMkLst>
            <pc:docMk/>
            <pc:sldMk cId="1449615703" sldId="2147376010"/>
            <ac:spMk id="4" creationId="{3E7F068C-7331-4C29-982C-3427FBB32AA9}"/>
          </ac:spMkLst>
        </pc:spChg>
        <pc:spChg chg="add mod">
          <ac:chgData name="Jithin Mohan [UNext]" userId="385dd2b6-d5cf-4598-8587-f7835bad5e0b" providerId="ADAL" clId="{E895FC88-B9ED-48F8-9240-BBEAD452ABB4}" dt="2026-01-08T11:01:34.893" v="1344" actId="1076"/>
          <ac:spMkLst>
            <pc:docMk/>
            <pc:sldMk cId="1449615703" sldId="2147376010"/>
            <ac:spMk id="7" creationId="{A3D6AB21-AFFB-EF4B-273B-FAEED178F710}"/>
          </ac:spMkLst>
        </pc:spChg>
        <pc:picChg chg="del">
          <ac:chgData name="Jithin Mohan [UNext]" userId="385dd2b6-d5cf-4598-8587-f7835bad5e0b" providerId="ADAL" clId="{E895FC88-B9ED-48F8-9240-BBEAD452ABB4}" dt="2026-01-08T11:00:34.948" v="1327" actId="478"/>
          <ac:picMkLst>
            <pc:docMk/>
            <pc:sldMk cId="1449615703" sldId="2147376010"/>
            <ac:picMk id="5" creationId="{271600E8-461D-3910-F3D7-9E870F261725}"/>
          </ac:picMkLst>
        </pc:picChg>
      </pc:sldChg>
      <pc:sldChg chg="modSp add mod ord">
        <pc:chgData name="Jithin Mohan [UNext]" userId="385dd2b6-d5cf-4598-8587-f7835bad5e0b" providerId="ADAL" clId="{E895FC88-B9ED-48F8-9240-BBEAD452ABB4}" dt="2026-01-08T11:02:00.805" v="1352"/>
        <pc:sldMkLst>
          <pc:docMk/>
          <pc:sldMk cId="33743839" sldId="2147376011"/>
        </pc:sldMkLst>
        <pc:spChg chg="mod">
          <ac:chgData name="Jithin Mohan [UNext]" userId="385dd2b6-d5cf-4598-8587-f7835bad5e0b" providerId="ADAL" clId="{E895FC88-B9ED-48F8-9240-BBEAD452ABB4}" dt="2026-01-08T11:01:55.294" v="1349"/>
          <ac:spMkLst>
            <pc:docMk/>
            <pc:sldMk cId="33743839" sldId="2147376011"/>
            <ac:spMk id="8" creationId="{F652B623-5918-340B-CD66-D9BB3D0EE86A}"/>
          </ac:spMkLst>
        </pc:spChg>
      </pc:sldChg>
      <pc:sldChg chg="addSp delSp modSp add mod">
        <pc:chgData name="Jithin Mohan [UNext]" userId="385dd2b6-d5cf-4598-8587-f7835bad5e0b" providerId="ADAL" clId="{E895FC88-B9ED-48F8-9240-BBEAD452ABB4}" dt="2026-01-08T11:03:14.219" v="1382" actId="1036"/>
        <pc:sldMkLst>
          <pc:docMk/>
          <pc:sldMk cId="2586461614" sldId="2147376012"/>
        </pc:sldMkLst>
        <pc:spChg chg="add mod">
          <ac:chgData name="Jithin Mohan [UNext]" userId="385dd2b6-d5cf-4598-8587-f7835bad5e0b" providerId="ADAL" clId="{E895FC88-B9ED-48F8-9240-BBEAD452ABB4}" dt="2026-01-08T11:02:22.086" v="1357"/>
          <ac:spMkLst>
            <pc:docMk/>
            <pc:sldMk cId="2586461614" sldId="2147376012"/>
            <ac:spMk id="2" creationId="{97474215-21D7-68A3-102A-767AD8D346AC}"/>
          </ac:spMkLst>
        </pc:spChg>
        <pc:spChg chg="mod">
          <ac:chgData name="Jithin Mohan [UNext]" userId="385dd2b6-d5cf-4598-8587-f7835bad5e0b" providerId="ADAL" clId="{E895FC88-B9ED-48F8-9240-BBEAD452ABB4}" dt="2026-01-08T11:02:11.198" v="1354"/>
          <ac:spMkLst>
            <pc:docMk/>
            <pc:sldMk cId="2586461614" sldId="2147376012"/>
            <ac:spMk id="4" creationId="{3E7F068C-7331-4C29-982C-3427FBB32AA9}"/>
          </ac:spMkLst>
        </pc:spChg>
        <pc:spChg chg="add mod">
          <ac:chgData name="Jithin Mohan [UNext]" userId="385dd2b6-d5cf-4598-8587-f7835bad5e0b" providerId="ADAL" clId="{E895FC88-B9ED-48F8-9240-BBEAD452ABB4}" dt="2026-01-08T11:02:25.114" v="1360"/>
          <ac:spMkLst>
            <pc:docMk/>
            <pc:sldMk cId="2586461614" sldId="2147376012"/>
            <ac:spMk id="5" creationId="{910E4F29-628F-C3C4-26D8-48BCF48F1017}"/>
          </ac:spMkLst>
        </pc:spChg>
        <pc:spChg chg="add del mod">
          <ac:chgData name="Jithin Mohan [UNext]" userId="385dd2b6-d5cf-4598-8587-f7835bad5e0b" providerId="ADAL" clId="{E895FC88-B9ED-48F8-9240-BBEAD452ABB4}" dt="2026-01-08T11:03:14.219" v="1382" actId="1036"/>
          <ac:spMkLst>
            <pc:docMk/>
            <pc:sldMk cId="2586461614" sldId="2147376012"/>
            <ac:spMk id="7" creationId="{A3D6AB21-AFFB-EF4B-273B-FAEED178F710}"/>
          </ac:spMkLst>
        </pc:spChg>
        <pc:picChg chg="add">
          <ac:chgData name="Jithin Mohan [UNext]" userId="385dd2b6-d5cf-4598-8587-f7835bad5e0b" providerId="ADAL" clId="{E895FC88-B9ED-48F8-9240-BBEAD452ABB4}" dt="2026-01-08T11:02:27.943" v="1361"/>
          <ac:picMkLst>
            <pc:docMk/>
            <pc:sldMk cId="2586461614" sldId="2147376012"/>
            <ac:picMk id="6" creationId="{DAE732CA-FCA8-594A-01F8-F20A069ADBA8}"/>
          </ac:picMkLst>
        </pc:picChg>
      </pc:sldChg>
      <pc:sldChg chg="modSp add mod">
        <pc:chgData name="Jithin Mohan [UNext]" userId="385dd2b6-d5cf-4598-8587-f7835bad5e0b" providerId="ADAL" clId="{E895FC88-B9ED-48F8-9240-BBEAD452ABB4}" dt="2026-01-08T11:44:13.995" v="1400" actId="1076"/>
        <pc:sldMkLst>
          <pc:docMk/>
          <pc:sldMk cId="2131163034" sldId="2147376013"/>
        </pc:sldMkLst>
        <pc:spChg chg="mod">
          <ac:chgData name="Jithin Mohan [UNext]" userId="385dd2b6-d5cf-4598-8587-f7835bad5e0b" providerId="ADAL" clId="{E895FC88-B9ED-48F8-9240-BBEAD452ABB4}" dt="2026-01-08T11:42:40.566" v="1385"/>
          <ac:spMkLst>
            <pc:docMk/>
            <pc:sldMk cId="2131163034" sldId="2147376013"/>
            <ac:spMk id="4" creationId="{3E7F068C-7331-4C29-982C-3427FBB32AA9}"/>
          </ac:spMkLst>
        </pc:spChg>
        <pc:spChg chg="mod">
          <ac:chgData name="Jithin Mohan [UNext]" userId="385dd2b6-d5cf-4598-8587-f7835bad5e0b" providerId="ADAL" clId="{E895FC88-B9ED-48F8-9240-BBEAD452ABB4}" dt="2026-01-08T11:44:13.995" v="1400" actId="1076"/>
          <ac:spMkLst>
            <pc:docMk/>
            <pc:sldMk cId="2131163034" sldId="2147376013"/>
            <ac:spMk id="7" creationId="{A3D6AB21-AFFB-EF4B-273B-FAEED178F710}"/>
          </ac:spMkLst>
        </pc:spChg>
      </pc:sldChg>
      <pc:sldChg chg="modSp add mod">
        <pc:chgData name="Jithin Mohan [UNext]" userId="385dd2b6-d5cf-4598-8587-f7835bad5e0b" providerId="ADAL" clId="{E895FC88-B9ED-48F8-9240-BBEAD452ABB4}" dt="2026-01-08T11:56:18.953" v="1415" actId="1076"/>
        <pc:sldMkLst>
          <pc:docMk/>
          <pc:sldMk cId="3072645879" sldId="2147376014"/>
        </pc:sldMkLst>
        <pc:spChg chg="mod">
          <ac:chgData name="Jithin Mohan [UNext]" userId="385dd2b6-d5cf-4598-8587-f7835bad5e0b" providerId="ADAL" clId="{E895FC88-B9ED-48F8-9240-BBEAD452ABB4}" dt="2026-01-08T11:55:54.507" v="1403"/>
          <ac:spMkLst>
            <pc:docMk/>
            <pc:sldMk cId="3072645879" sldId="2147376014"/>
            <ac:spMk id="4" creationId="{3E7F068C-7331-4C29-982C-3427FBB32AA9}"/>
          </ac:spMkLst>
        </pc:spChg>
        <pc:spChg chg="mod">
          <ac:chgData name="Jithin Mohan [UNext]" userId="385dd2b6-d5cf-4598-8587-f7835bad5e0b" providerId="ADAL" clId="{E895FC88-B9ED-48F8-9240-BBEAD452ABB4}" dt="2026-01-08T11:56:18.953" v="1415" actId="1076"/>
          <ac:spMkLst>
            <pc:docMk/>
            <pc:sldMk cId="3072645879" sldId="2147376014"/>
            <ac:spMk id="7" creationId="{A3D6AB21-AFFB-EF4B-273B-FAEED178F710}"/>
          </ac:spMkLst>
        </pc:spChg>
      </pc:sldChg>
      <pc:sldChg chg="modSp add mod">
        <pc:chgData name="Jithin Mohan [UNext]" userId="385dd2b6-d5cf-4598-8587-f7835bad5e0b" providerId="ADAL" clId="{E895FC88-B9ED-48F8-9240-BBEAD452ABB4}" dt="2026-01-08T11:57:25.392" v="1431" actId="1076"/>
        <pc:sldMkLst>
          <pc:docMk/>
          <pc:sldMk cId="20768445" sldId="2147376015"/>
        </pc:sldMkLst>
        <pc:spChg chg="mod">
          <ac:chgData name="Jithin Mohan [UNext]" userId="385dd2b6-d5cf-4598-8587-f7835bad5e0b" providerId="ADAL" clId="{E895FC88-B9ED-48F8-9240-BBEAD452ABB4}" dt="2026-01-08T11:56:51.252" v="1418"/>
          <ac:spMkLst>
            <pc:docMk/>
            <pc:sldMk cId="20768445" sldId="2147376015"/>
            <ac:spMk id="4" creationId="{3E7F068C-7331-4C29-982C-3427FBB32AA9}"/>
          </ac:spMkLst>
        </pc:spChg>
        <pc:spChg chg="mod">
          <ac:chgData name="Jithin Mohan [UNext]" userId="385dd2b6-d5cf-4598-8587-f7835bad5e0b" providerId="ADAL" clId="{E895FC88-B9ED-48F8-9240-BBEAD452ABB4}" dt="2026-01-08T11:57:25.392" v="1431" actId="1076"/>
          <ac:spMkLst>
            <pc:docMk/>
            <pc:sldMk cId="20768445" sldId="2147376015"/>
            <ac:spMk id="7" creationId="{A3D6AB21-AFFB-EF4B-273B-FAEED178F710}"/>
          </ac:spMkLst>
        </pc:spChg>
      </pc:sldChg>
      <pc:sldChg chg="modSp add mod ord">
        <pc:chgData name="Jithin Mohan [UNext]" userId="385dd2b6-d5cf-4598-8587-f7835bad5e0b" providerId="ADAL" clId="{E895FC88-B9ED-48F8-9240-BBEAD452ABB4}" dt="2026-01-08T11:58:18.661" v="1438"/>
        <pc:sldMkLst>
          <pc:docMk/>
          <pc:sldMk cId="1735306108" sldId="2147376016"/>
        </pc:sldMkLst>
        <pc:spChg chg="mod">
          <ac:chgData name="Jithin Mohan [UNext]" userId="385dd2b6-d5cf-4598-8587-f7835bad5e0b" providerId="ADAL" clId="{E895FC88-B9ED-48F8-9240-BBEAD452ABB4}" dt="2026-01-08T11:58:12.128" v="1434"/>
          <ac:spMkLst>
            <pc:docMk/>
            <pc:sldMk cId="1735306108" sldId="2147376016"/>
            <ac:spMk id="8" creationId="{F652B623-5918-340B-CD66-D9BB3D0EE86A}"/>
          </ac:spMkLst>
        </pc:spChg>
      </pc:sldChg>
      <pc:sldChg chg="modSp add mod">
        <pc:chgData name="Jithin Mohan [UNext]" userId="385dd2b6-d5cf-4598-8587-f7835bad5e0b" providerId="ADAL" clId="{E895FC88-B9ED-48F8-9240-BBEAD452ABB4}" dt="2026-01-08T11:58:58.727" v="1445" actId="1076"/>
        <pc:sldMkLst>
          <pc:docMk/>
          <pc:sldMk cId="833583096" sldId="2147376017"/>
        </pc:sldMkLst>
        <pc:spChg chg="mod">
          <ac:chgData name="Jithin Mohan [UNext]" userId="385dd2b6-d5cf-4598-8587-f7835bad5e0b" providerId="ADAL" clId="{E895FC88-B9ED-48F8-9240-BBEAD452ABB4}" dt="2026-01-08T11:58:33.746" v="1439"/>
          <ac:spMkLst>
            <pc:docMk/>
            <pc:sldMk cId="833583096" sldId="2147376017"/>
            <ac:spMk id="4" creationId="{3E7F068C-7331-4C29-982C-3427FBB32AA9}"/>
          </ac:spMkLst>
        </pc:spChg>
        <pc:spChg chg="mod">
          <ac:chgData name="Jithin Mohan [UNext]" userId="385dd2b6-d5cf-4598-8587-f7835bad5e0b" providerId="ADAL" clId="{E895FC88-B9ED-48F8-9240-BBEAD452ABB4}" dt="2026-01-08T11:58:58.727" v="1445" actId="1076"/>
          <ac:spMkLst>
            <pc:docMk/>
            <pc:sldMk cId="833583096" sldId="2147376017"/>
            <ac:spMk id="7" creationId="{A3D6AB21-AFFB-EF4B-273B-FAEED178F710}"/>
          </ac:spMkLst>
        </pc:spChg>
      </pc:sldChg>
      <pc:sldChg chg="addSp delSp modSp add mod">
        <pc:chgData name="Jithin Mohan [UNext]" userId="385dd2b6-d5cf-4598-8587-f7835bad5e0b" providerId="ADAL" clId="{E895FC88-B9ED-48F8-9240-BBEAD452ABB4}" dt="2026-01-08T11:59:56.263" v="1466"/>
        <pc:sldMkLst>
          <pc:docMk/>
          <pc:sldMk cId="2831597269" sldId="2147376018"/>
        </pc:sldMkLst>
        <pc:spChg chg="mod">
          <ac:chgData name="Jithin Mohan [UNext]" userId="385dd2b6-d5cf-4598-8587-f7835bad5e0b" providerId="ADAL" clId="{E895FC88-B9ED-48F8-9240-BBEAD452ABB4}" dt="2026-01-08T11:59:16.802" v="1448"/>
          <ac:spMkLst>
            <pc:docMk/>
            <pc:sldMk cId="2831597269" sldId="2147376018"/>
            <ac:spMk id="4" creationId="{3E7F068C-7331-4C29-982C-3427FBB32AA9}"/>
          </ac:spMkLst>
        </pc:spChg>
        <pc:spChg chg="add mod">
          <ac:chgData name="Jithin Mohan [UNext]" userId="385dd2b6-d5cf-4598-8587-f7835bad5e0b" providerId="ADAL" clId="{E895FC88-B9ED-48F8-9240-BBEAD452ABB4}" dt="2026-01-08T11:59:54.842" v="1464" actId="1076"/>
          <ac:spMkLst>
            <pc:docMk/>
            <pc:sldMk cId="2831597269" sldId="2147376018"/>
            <ac:spMk id="5" creationId="{46841986-9AA2-05A8-9DC0-3C1A55E26F84}"/>
          </ac:spMkLst>
        </pc:spChg>
        <pc:spChg chg="del mod">
          <ac:chgData name="Jithin Mohan [UNext]" userId="385dd2b6-d5cf-4598-8587-f7835bad5e0b" providerId="ADAL" clId="{E895FC88-B9ED-48F8-9240-BBEAD452ABB4}" dt="2026-01-08T11:59:56.263" v="1466"/>
          <ac:spMkLst>
            <pc:docMk/>
            <pc:sldMk cId="2831597269" sldId="2147376018"/>
            <ac:spMk id="7" creationId="{A3D6AB21-AFFB-EF4B-273B-FAEED178F710}"/>
          </ac:spMkLst>
        </pc:spChg>
      </pc:sldChg>
      <pc:sldChg chg="addSp delSp modSp add mod">
        <pc:chgData name="Jithin Mohan [UNext]" userId="385dd2b6-d5cf-4598-8587-f7835bad5e0b" providerId="ADAL" clId="{E895FC88-B9ED-48F8-9240-BBEAD452ABB4}" dt="2026-01-08T12:01:07.973" v="1486" actId="14100"/>
        <pc:sldMkLst>
          <pc:docMk/>
          <pc:sldMk cId="165127736" sldId="2147376019"/>
        </pc:sldMkLst>
        <pc:spChg chg="add mod">
          <ac:chgData name="Jithin Mohan [UNext]" userId="385dd2b6-d5cf-4598-8587-f7835bad5e0b" providerId="ADAL" clId="{E895FC88-B9ED-48F8-9240-BBEAD452ABB4}" dt="2026-01-08T12:01:07.973" v="1486" actId="14100"/>
          <ac:spMkLst>
            <pc:docMk/>
            <pc:sldMk cId="165127736" sldId="2147376019"/>
            <ac:spMk id="2" creationId="{628A0F3F-22F1-230B-5744-3E03118DB464}"/>
          </ac:spMkLst>
        </pc:spChg>
        <pc:spChg chg="mod">
          <ac:chgData name="Jithin Mohan [UNext]" userId="385dd2b6-d5cf-4598-8587-f7835bad5e0b" providerId="ADAL" clId="{E895FC88-B9ED-48F8-9240-BBEAD452ABB4}" dt="2026-01-08T12:00:42.309" v="1476"/>
          <ac:spMkLst>
            <pc:docMk/>
            <pc:sldMk cId="165127736" sldId="2147376019"/>
            <ac:spMk id="4" creationId="{3E7F068C-7331-4C29-982C-3427FBB32AA9}"/>
          </ac:spMkLst>
        </pc:spChg>
        <pc:spChg chg="del">
          <ac:chgData name="Jithin Mohan [UNext]" userId="385dd2b6-d5cf-4598-8587-f7835bad5e0b" providerId="ADAL" clId="{E895FC88-B9ED-48F8-9240-BBEAD452ABB4}" dt="2026-01-08T12:00:50.812" v="1477" actId="478"/>
          <ac:spMkLst>
            <pc:docMk/>
            <pc:sldMk cId="165127736" sldId="2147376019"/>
            <ac:spMk id="5" creationId="{46841986-9AA2-05A8-9DC0-3C1A55E26F84}"/>
          </ac:spMkLst>
        </pc:spChg>
      </pc:sldChg>
      <pc:sldChg chg="modSp add del mod">
        <pc:chgData name="Jithin Mohan [UNext]" userId="385dd2b6-d5cf-4598-8587-f7835bad5e0b" providerId="ADAL" clId="{E895FC88-B9ED-48F8-9240-BBEAD452ABB4}" dt="2026-01-08T12:00:16.473" v="1471" actId="2890"/>
        <pc:sldMkLst>
          <pc:docMk/>
          <pc:sldMk cId="3741409344" sldId="2147376019"/>
        </pc:sldMkLst>
        <pc:spChg chg="mod">
          <ac:chgData name="Jithin Mohan [UNext]" userId="385dd2b6-d5cf-4598-8587-f7835bad5e0b" providerId="ADAL" clId="{E895FC88-B9ED-48F8-9240-BBEAD452ABB4}" dt="2026-01-08T12:00:15.951" v="1470"/>
          <ac:spMkLst>
            <pc:docMk/>
            <pc:sldMk cId="3741409344" sldId="2147376019"/>
            <ac:spMk id="4" creationId="{3E7F068C-7331-4C29-982C-3427FBB32AA9}"/>
          </ac:spMkLst>
        </pc:spChg>
      </pc:sldChg>
      <pc:sldMasterChg chg="addSp delSp modSp mod delSldLayout modSldLayout">
        <pc:chgData name="Jithin Mohan [UNext]" userId="385dd2b6-d5cf-4598-8587-f7835bad5e0b" providerId="ADAL" clId="{E895FC88-B9ED-48F8-9240-BBEAD452ABB4}" dt="2026-01-08T12:01:12.790" v="1487" actId="47"/>
        <pc:sldMasterMkLst>
          <pc:docMk/>
          <pc:sldMasterMk cId="0" sldId="2147483648"/>
        </pc:sldMasterMkLst>
        <pc:spChg chg="del">
          <ac:chgData name="Jithin Mohan [UNext]" userId="385dd2b6-d5cf-4598-8587-f7835bad5e0b" providerId="ADAL" clId="{E895FC88-B9ED-48F8-9240-BBEAD452ABB4}" dt="2026-01-07T07:40:28.628" v="1" actId="478"/>
          <ac:spMkLst>
            <pc:docMk/>
            <pc:sldMasterMk cId="0" sldId="2147483648"/>
            <ac:spMk id="3" creationId="{00000000-0000-0000-0000-000000000000}"/>
          </ac:spMkLst>
        </pc:spChg>
        <pc:spChg chg="del">
          <ac:chgData name="Jithin Mohan [UNext]" userId="385dd2b6-d5cf-4598-8587-f7835bad5e0b" providerId="ADAL" clId="{E895FC88-B9ED-48F8-9240-BBEAD452ABB4}" dt="2026-01-07T07:40:28.628" v="1" actId="478"/>
          <ac:spMkLst>
            <pc:docMk/>
            <pc:sldMasterMk cId="0" sldId="2147483648"/>
            <ac:spMk id="4" creationId="{00000000-0000-0000-0000-000000000000}"/>
          </ac:spMkLst>
        </pc:spChg>
        <pc:spChg chg="del">
          <ac:chgData name="Jithin Mohan [UNext]" userId="385dd2b6-d5cf-4598-8587-f7835bad5e0b" providerId="ADAL" clId="{E895FC88-B9ED-48F8-9240-BBEAD452ABB4}" dt="2026-01-07T07:40:28.628" v="1" actId="478"/>
          <ac:spMkLst>
            <pc:docMk/>
            <pc:sldMasterMk cId="0" sldId="2147483648"/>
            <ac:spMk id="5" creationId="{00000000-0000-0000-0000-000000000000}"/>
          </ac:spMkLst>
        </pc:spChg>
        <pc:spChg chg="del">
          <ac:chgData name="Jithin Mohan [UNext]" userId="385dd2b6-d5cf-4598-8587-f7835bad5e0b" providerId="ADAL" clId="{E895FC88-B9ED-48F8-9240-BBEAD452ABB4}" dt="2026-01-07T07:40:28.628" v="1" actId="478"/>
          <ac:spMkLst>
            <pc:docMk/>
            <pc:sldMasterMk cId="0" sldId="2147483648"/>
            <ac:spMk id="6" creationId="{00000000-0000-0000-0000-000000000000}"/>
          </ac:spMkLst>
        </pc:spChg>
        <pc:spChg chg="del">
          <ac:chgData name="Jithin Mohan [UNext]" userId="385dd2b6-d5cf-4598-8587-f7835bad5e0b" providerId="ADAL" clId="{E895FC88-B9ED-48F8-9240-BBEAD452ABB4}" dt="2026-01-07T07:40:28.628" v="1" actId="478"/>
          <ac:spMkLst>
            <pc:docMk/>
            <pc:sldMasterMk cId="0" sldId="2147483648"/>
            <ac:spMk id="8" creationId="{33FF2AC9-301C-4062-86E1-2F09BCB566E3}"/>
          </ac:spMkLst>
        </pc:spChg>
        <pc:spChg chg="mod">
          <ac:chgData name="Jithin Mohan [UNext]" userId="385dd2b6-d5cf-4598-8587-f7835bad5e0b" providerId="ADAL" clId="{E895FC88-B9ED-48F8-9240-BBEAD452ABB4}" dt="2026-01-07T07:40:29.232" v="2"/>
          <ac:spMkLst>
            <pc:docMk/>
            <pc:sldMasterMk cId="0" sldId="2147483648"/>
            <ac:spMk id="12" creationId="{970DC448-225F-E9AE-A8CE-E6BCCD4B7DA4}"/>
          </ac:spMkLst>
        </pc:spChg>
        <pc:grpChg chg="add mod">
          <ac:chgData name="Jithin Mohan [UNext]" userId="385dd2b6-d5cf-4598-8587-f7835bad5e0b" providerId="ADAL" clId="{E895FC88-B9ED-48F8-9240-BBEAD452ABB4}" dt="2026-01-07T07:40:29.232" v="2"/>
          <ac:grpSpMkLst>
            <pc:docMk/>
            <pc:sldMasterMk cId="0" sldId="2147483648"/>
            <ac:grpSpMk id="10" creationId="{A15E835B-FAAF-072B-2E1B-EDA2552C2DF3}"/>
          </ac:grpSpMkLst>
        </pc:grpChg>
        <pc:picChg chg="del">
          <ac:chgData name="Jithin Mohan [UNext]" userId="385dd2b6-d5cf-4598-8587-f7835bad5e0b" providerId="ADAL" clId="{E895FC88-B9ED-48F8-9240-BBEAD452ABB4}" dt="2026-01-07T07:40:28.628" v="1" actId="478"/>
          <ac:picMkLst>
            <pc:docMk/>
            <pc:sldMasterMk cId="0" sldId="2147483648"/>
            <ac:picMk id="9" creationId="{09AB4B08-827B-4565-82D3-04F2FBC035D6}"/>
          </ac:picMkLst>
        </pc:picChg>
        <pc:picChg chg="add mod">
          <ac:chgData name="Jithin Mohan [UNext]" userId="385dd2b6-d5cf-4598-8587-f7835bad5e0b" providerId="ADAL" clId="{E895FC88-B9ED-48F8-9240-BBEAD452ABB4}" dt="2026-01-07T07:40:38.335" v="6"/>
          <ac:picMkLst>
            <pc:docMk/>
            <pc:sldMasterMk cId="0" sldId="2147483648"/>
            <ac:picMk id="13" creationId="{9CC9CA0E-B6BD-BEAB-BF29-37E4132551DA}"/>
          </ac:picMkLst>
        </pc:picChg>
        <pc:cxnChg chg="del">
          <ac:chgData name="Jithin Mohan [UNext]" userId="385dd2b6-d5cf-4598-8587-f7835bad5e0b" providerId="ADAL" clId="{E895FC88-B9ED-48F8-9240-BBEAD452ABB4}" dt="2026-01-07T07:40:28.628" v="1" actId="478"/>
          <ac:cxnSpMkLst>
            <pc:docMk/>
            <pc:sldMasterMk cId="0" sldId="2147483648"/>
            <ac:cxnSpMk id="7" creationId="{13A0D1E1-2913-41A3-BA72-CFCD7FC53C08}"/>
          </ac:cxnSpMkLst>
        </pc:cxnChg>
        <pc:cxnChg chg="mod">
          <ac:chgData name="Jithin Mohan [UNext]" userId="385dd2b6-d5cf-4598-8587-f7835bad5e0b" providerId="ADAL" clId="{E895FC88-B9ED-48F8-9240-BBEAD452ABB4}" dt="2026-01-07T07:40:29.232" v="2"/>
          <ac:cxnSpMkLst>
            <pc:docMk/>
            <pc:sldMasterMk cId="0" sldId="2147483648"/>
            <ac:cxnSpMk id="11" creationId="{72B83D60-4A53-C6A4-6D49-41ED127EB651}"/>
          </ac:cxnSpMkLst>
        </pc:cxnChg>
        <pc:sldLayoutChg chg="delSp mod">
          <pc:chgData name="Jithin Mohan [UNext]" userId="385dd2b6-d5cf-4598-8587-f7835bad5e0b" providerId="ADAL" clId="{E895FC88-B9ED-48F8-9240-BBEAD452ABB4}" dt="2026-01-07T07:40:19.902" v="0" actId="478"/>
          <pc:sldLayoutMkLst>
            <pc:docMk/>
            <pc:sldMasterMk cId="0" sldId="2147483648"/>
            <pc:sldLayoutMk cId="0" sldId="2147483664"/>
          </pc:sldLayoutMkLst>
          <pc:spChg chg="del">
            <ac:chgData name="Jithin Mohan [UNext]" userId="385dd2b6-d5cf-4598-8587-f7835bad5e0b" providerId="ADAL" clId="{E895FC88-B9ED-48F8-9240-BBEAD452ABB4}" dt="2026-01-07T07:40:19.902" v="0" actId="478"/>
            <ac:spMkLst>
              <pc:docMk/>
              <pc:sldMasterMk cId="0" sldId="2147483648"/>
              <pc:sldLayoutMk cId="0" sldId="2147483664"/>
              <ac:spMk id="2" creationId="{00000000-0000-0000-0000-000000000000}"/>
            </ac:spMkLst>
          </pc:spChg>
          <pc:spChg chg="del">
            <ac:chgData name="Jithin Mohan [UNext]" userId="385dd2b6-d5cf-4598-8587-f7835bad5e0b" providerId="ADAL" clId="{E895FC88-B9ED-48F8-9240-BBEAD452ABB4}" dt="2026-01-07T07:40:19.902" v="0" actId="478"/>
            <ac:spMkLst>
              <pc:docMk/>
              <pc:sldMasterMk cId="0" sldId="2147483648"/>
              <pc:sldLayoutMk cId="0" sldId="2147483664"/>
              <ac:spMk id="3" creationId="{00000000-0000-0000-0000-000000000000}"/>
            </ac:spMkLst>
          </pc:spChg>
          <pc:spChg chg="del">
            <ac:chgData name="Jithin Mohan [UNext]" userId="385dd2b6-d5cf-4598-8587-f7835bad5e0b" providerId="ADAL" clId="{E895FC88-B9ED-48F8-9240-BBEAD452ABB4}" dt="2026-01-07T07:40:19.902" v="0" actId="478"/>
            <ac:spMkLst>
              <pc:docMk/>
              <pc:sldMasterMk cId="0" sldId="2147483648"/>
              <pc:sldLayoutMk cId="0" sldId="2147483664"/>
              <ac:spMk id="4" creationId="{00000000-0000-0000-0000-000000000000}"/>
            </ac:spMkLst>
          </pc:spChg>
          <pc:spChg chg="del">
            <ac:chgData name="Jithin Mohan [UNext]" userId="385dd2b6-d5cf-4598-8587-f7835bad5e0b" providerId="ADAL" clId="{E895FC88-B9ED-48F8-9240-BBEAD452ABB4}" dt="2026-01-07T07:40:19.902" v="0" actId="478"/>
            <ac:spMkLst>
              <pc:docMk/>
              <pc:sldMasterMk cId="0" sldId="2147483648"/>
              <pc:sldLayoutMk cId="0" sldId="2147483664"/>
              <ac:spMk id="5" creationId="{00000000-0000-0000-0000-000000000000}"/>
            </ac:spMkLst>
          </pc:spChg>
        </pc:sldLayoutChg>
        <pc:sldLayoutChg chg="del">
          <pc:chgData name="Jithin Mohan [UNext]" userId="385dd2b6-d5cf-4598-8587-f7835bad5e0b" providerId="ADAL" clId="{E895FC88-B9ED-48F8-9240-BBEAD452ABB4}" dt="2026-01-07T10:14:25.789" v="868" actId="47"/>
          <pc:sldLayoutMkLst>
            <pc:docMk/>
            <pc:sldMasterMk cId="0" sldId="2147483648"/>
            <pc:sldLayoutMk cId="4180053343" sldId="2147483666"/>
          </pc:sldLayoutMkLst>
        </pc:sldLayoutChg>
        <pc:sldLayoutChg chg="del">
          <pc:chgData name="Jithin Mohan [UNext]" userId="385dd2b6-d5cf-4598-8587-f7835bad5e0b" providerId="ADAL" clId="{E895FC88-B9ED-48F8-9240-BBEAD452ABB4}" dt="2026-01-07T09:00:24.184" v="197" actId="47"/>
          <pc:sldLayoutMkLst>
            <pc:docMk/>
            <pc:sldMasterMk cId="0" sldId="2147483648"/>
            <pc:sldLayoutMk cId="0" sldId="2147483667"/>
          </pc:sldLayoutMkLst>
        </pc:sldLayoutChg>
        <pc:sldLayoutChg chg="del">
          <pc:chgData name="Jithin Mohan [UNext]" userId="385dd2b6-d5cf-4598-8587-f7835bad5e0b" providerId="ADAL" clId="{E895FC88-B9ED-48F8-9240-BBEAD452ABB4}" dt="2026-01-07T07:41:03.737" v="8" actId="47"/>
          <pc:sldLayoutMkLst>
            <pc:docMk/>
            <pc:sldMasterMk cId="0" sldId="2147483648"/>
            <pc:sldLayoutMk cId="3241661270" sldId="2147483668"/>
          </pc:sldLayoutMkLst>
        </pc:sldLayoutChg>
        <pc:sldLayoutChg chg="del">
          <pc:chgData name="Jithin Mohan [UNext]" userId="385dd2b6-d5cf-4598-8587-f7835bad5e0b" providerId="ADAL" clId="{E895FC88-B9ED-48F8-9240-BBEAD452ABB4}" dt="2026-01-07T10:16:08.613" v="882" actId="47"/>
          <pc:sldLayoutMkLst>
            <pc:docMk/>
            <pc:sldMasterMk cId="0" sldId="2147483648"/>
            <pc:sldLayoutMk cId="830043636" sldId="2147483714"/>
          </pc:sldLayoutMkLst>
        </pc:sldLayoutChg>
        <pc:sldLayoutChg chg="del">
          <pc:chgData name="Jithin Mohan [UNext]" userId="385dd2b6-d5cf-4598-8587-f7835bad5e0b" providerId="ADAL" clId="{E895FC88-B9ED-48F8-9240-BBEAD452ABB4}" dt="2026-01-08T12:01:12.790" v="1487" actId="47"/>
          <pc:sldLayoutMkLst>
            <pc:docMk/>
            <pc:sldMasterMk cId="0" sldId="2147483648"/>
            <pc:sldLayoutMk cId="3170667090" sldId="2147483715"/>
          </pc:sldLayoutMkLst>
        </pc:sldLayoutChg>
        <pc:sldLayoutChg chg="del">
          <pc:chgData name="Jithin Mohan [UNext]" userId="385dd2b6-d5cf-4598-8587-f7835bad5e0b" providerId="ADAL" clId="{E895FC88-B9ED-48F8-9240-BBEAD452ABB4}" dt="2026-01-08T11:58:14.691" v="1435" actId="47"/>
          <pc:sldLayoutMkLst>
            <pc:docMk/>
            <pc:sldMasterMk cId="0" sldId="2147483648"/>
            <pc:sldLayoutMk cId="1532068584" sldId="2147483716"/>
          </pc:sldLayoutMkLst>
        </pc:sldLayoutChg>
        <pc:sldLayoutChg chg="del">
          <pc:chgData name="Jithin Mohan [UNext]" userId="385dd2b6-d5cf-4598-8587-f7835bad5e0b" providerId="ADAL" clId="{E895FC88-B9ED-48F8-9240-BBEAD452ABB4}" dt="2026-01-07T07:42:04.834" v="15" actId="47"/>
          <pc:sldLayoutMkLst>
            <pc:docMk/>
            <pc:sldMasterMk cId="0" sldId="2147483648"/>
            <pc:sldLayoutMk cId="3701318771" sldId="2147483717"/>
          </pc:sldLayoutMkLst>
        </pc:sldLayoutChg>
      </pc:sldMasterChg>
      <pc:sldMasterChg chg="del delSldLayout">
        <pc:chgData name="Jithin Mohan [UNext]" userId="385dd2b6-d5cf-4598-8587-f7835bad5e0b" providerId="ADAL" clId="{E895FC88-B9ED-48F8-9240-BBEAD452ABB4}" dt="2026-01-08T06:12:10.930" v="1103" actId="47"/>
        <pc:sldMasterMkLst>
          <pc:docMk/>
          <pc:sldMasterMk cId="1383089322" sldId="2147483669"/>
        </pc:sldMasterMkLst>
        <pc:sldLayoutChg chg="del">
          <pc:chgData name="Jithin Mohan [UNext]" userId="385dd2b6-d5cf-4598-8587-f7835bad5e0b" providerId="ADAL" clId="{E895FC88-B9ED-48F8-9240-BBEAD452ABB4}" dt="2026-01-08T06:12:10.930" v="1103" actId="47"/>
          <pc:sldLayoutMkLst>
            <pc:docMk/>
            <pc:sldMasterMk cId="1383089322" sldId="2147483669"/>
            <pc:sldLayoutMk cId="1132894903" sldId="2147483670"/>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146014055" sldId="2147483671"/>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712163315" sldId="2147483672"/>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993757113" sldId="2147483673"/>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44861362" sldId="2147483674"/>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767922570" sldId="2147483675"/>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927977672" sldId="2147483676"/>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184788297" sldId="2147483677"/>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261577452" sldId="2147483678"/>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849489473" sldId="2147483679"/>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518027697" sldId="2147483680"/>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745865420" sldId="2147483681"/>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241370079" sldId="2147483682"/>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532580703" sldId="2147483683"/>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325787313" sldId="2147483684"/>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65512022" sldId="2147483685"/>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687403590" sldId="2147483686"/>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62740397" sldId="2147483687"/>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623363542" sldId="2147483688"/>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702453639" sldId="2147483689"/>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926534089" sldId="2147483690"/>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949425038" sldId="2147483691"/>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063101205" sldId="2147483692"/>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838185708" sldId="2147483693"/>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4939419" sldId="2147483694"/>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384683646" sldId="2147483695"/>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673746500" sldId="2147483696"/>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519218587" sldId="2147483697"/>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614710525" sldId="2147483698"/>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82161884" sldId="2147483699"/>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324427587" sldId="2147483700"/>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139480779" sldId="2147483701"/>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898565282" sldId="2147483702"/>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608728297" sldId="2147483703"/>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135800520" sldId="2147483704"/>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1526201821" sldId="2147483705"/>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337877643" sldId="2147483706"/>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276418324" sldId="2147483707"/>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991030216" sldId="2147483708"/>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2089762699" sldId="2147483709"/>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4004205124" sldId="2147483710"/>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133879061" sldId="2147483711"/>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317960590" sldId="2147483712"/>
          </pc:sldLayoutMkLst>
        </pc:sldLayoutChg>
        <pc:sldLayoutChg chg="del">
          <pc:chgData name="Jithin Mohan [UNext]" userId="385dd2b6-d5cf-4598-8587-f7835bad5e0b" providerId="ADAL" clId="{E895FC88-B9ED-48F8-9240-BBEAD452ABB4}" dt="2026-01-08T06:12:10.930" v="1103" actId="47"/>
          <pc:sldLayoutMkLst>
            <pc:docMk/>
            <pc:sldMasterMk cId="1383089322" sldId="2147483669"/>
            <pc:sldLayoutMk cId="3516035859" sldId="2147483713"/>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hyperlink" Target="https://www.ibm.com/think/topics/authentication" TargetMode="External"/><Relationship Id="rId2" Type="http://schemas.openxmlformats.org/officeDocument/2006/relationships/hyperlink" Target="https://www.ibm.com/think/topics/metadata" TargetMode="External"/><Relationship Id="rId1" Type="http://schemas.openxmlformats.org/officeDocument/2006/relationships/hyperlink" Target="https://www.ibm.com/think/topics/agentic-ai" TargetMode="External"/></Relationships>
</file>

<file path=ppt/diagrams/_rels/data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image" Target="../media/image76.jpeg"/></Relationships>
</file>

<file path=ppt/diagrams/_rels/drawing2.xml.rels><?xml version="1.0" encoding="UTF-8" standalone="yes"?>
<Relationships xmlns="http://schemas.openxmlformats.org/package/2006/relationships"><Relationship Id="rId3" Type="http://schemas.openxmlformats.org/officeDocument/2006/relationships/hyperlink" Target="https://www.ibm.com/think/topics/authentication" TargetMode="External"/><Relationship Id="rId2" Type="http://schemas.openxmlformats.org/officeDocument/2006/relationships/hyperlink" Target="https://www.ibm.com/think/topics/metadata" TargetMode="External"/><Relationship Id="rId1" Type="http://schemas.openxmlformats.org/officeDocument/2006/relationships/hyperlink" Target="https://www.ibm.com/think/topics/agentic-ai" TargetMode="External"/></Relationships>
</file>

<file path=ppt/diagrams/_rels/drawing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image" Target="../media/image7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9F9A38-6828-456D-8B55-9233029280D8}" type="doc">
      <dgm:prSet loTypeId="urn:microsoft.com/office/officeart/2005/8/layout/default" loCatId="list" qsTypeId="urn:microsoft.com/office/officeart/2005/8/quickstyle/3d2" qsCatId="3D" csTypeId="urn:microsoft.com/office/officeart/2005/8/colors/accent1_2" csCatId="accent1" phldr="1"/>
      <dgm:spPr/>
      <dgm:t>
        <a:bodyPr/>
        <a:lstStyle/>
        <a:p>
          <a:endParaRPr lang="en-IN"/>
        </a:p>
      </dgm:t>
    </dgm:pt>
    <dgm:pt modelId="{3DEA3755-BF8A-46B8-8312-DA995666DF57}">
      <dgm:prSet/>
      <dgm:spPr/>
      <dgm:t>
        <a:bodyPr/>
        <a:lstStyle/>
        <a:p>
          <a:pPr>
            <a:buFont typeface="Arial" panose="020B0604020202020204" pitchFamily="34" charset="0"/>
            <a:buChar char="•"/>
          </a:pPr>
          <a:r>
            <a:rPr lang="en-IN" b="0" i="0" dirty="0"/>
            <a:t>A2A client</a:t>
          </a:r>
        </a:p>
      </dgm:t>
    </dgm:pt>
    <dgm:pt modelId="{7EEC1C46-7B4D-47EA-963E-0B7083AD6D13}" type="parTrans" cxnId="{19BF85E7-434A-4D08-8386-7A7D5D0ECB84}">
      <dgm:prSet/>
      <dgm:spPr/>
      <dgm:t>
        <a:bodyPr/>
        <a:lstStyle/>
        <a:p>
          <a:endParaRPr lang="en-IN"/>
        </a:p>
      </dgm:t>
    </dgm:pt>
    <dgm:pt modelId="{323201D1-84E1-40D5-813D-FFE0D8363A62}" type="sibTrans" cxnId="{19BF85E7-434A-4D08-8386-7A7D5D0ECB84}">
      <dgm:prSet/>
      <dgm:spPr/>
      <dgm:t>
        <a:bodyPr/>
        <a:lstStyle/>
        <a:p>
          <a:endParaRPr lang="en-IN"/>
        </a:p>
      </dgm:t>
    </dgm:pt>
    <dgm:pt modelId="{7B445DB7-F4C2-4854-806B-17C421C8FB3A}">
      <dgm:prSet/>
      <dgm:spPr/>
      <dgm:t>
        <a:bodyPr/>
        <a:lstStyle/>
        <a:p>
          <a:pPr>
            <a:buFont typeface="Arial" panose="020B0604020202020204" pitchFamily="34" charset="0"/>
            <a:buChar char="•"/>
          </a:pPr>
          <a:r>
            <a:rPr lang="en-IN" b="0" i="0"/>
            <a:t>Agent card</a:t>
          </a:r>
        </a:p>
      </dgm:t>
    </dgm:pt>
    <dgm:pt modelId="{60CA6942-28F2-48B3-8A64-6CB202C1E125}" type="parTrans" cxnId="{2D42F348-ECF6-4B28-B4E1-B1D3697905AC}">
      <dgm:prSet/>
      <dgm:spPr/>
      <dgm:t>
        <a:bodyPr/>
        <a:lstStyle/>
        <a:p>
          <a:endParaRPr lang="en-IN"/>
        </a:p>
      </dgm:t>
    </dgm:pt>
    <dgm:pt modelId="{B17C637C-13FE-4374-B0C6-309890B5535E}" type="sibTrans" cxnId="{2D42F348-ECF6-4B28-B4E1-B1D3697905AC}">
      <dgm:prSet/>
      <dgm:spPr/>
      <dgm:t>
        <a:bodyPr/>
        <a:lstStyle/>
        <a:p>
          <a:endParaRPr lang="en-IN"/>
        </a:p>
      </dgm:t>
    </dgm:pt>
    <dgm:pt modelId="{A1B484AB-8CDE-42B7-9EB7-173EC8BF8888}">
      <dgm:prSet/>
      <dgm:spPr/>
      <dgm:t>
        <a:bodyPr/>
        <a:lstStyle/>
        <a:p>
          <a:pPr>
            <a:buFont typeface="Arial" panose="020B0604020202020204" pitchFamily="34" charset="0"/>
            <a:buChar char="•"/>
          </a:pPr>
          <a:r>
            <a:rPr lang="en-IN" b="0" i="0" dirty="0"/>
            <a:t>Task</a:t>
          </a:r>
        </a:p>
      </dgm:t>
    </dgm:pt>
    <dgm:pt modelId="{C0FFB386-A27C-4362-AD5F-4FA9F80BC011}" type="parTrans" cxnId="{1BD1BBC0-D1BF-448E-B47C-9ACAA4E69E72}">
      <dgm:prSet/>
      <dgm:spPr/>
      <dgm:t>
        <a:bodyPr/>
        <a:lstStyle/>
        <a:p>
          <a:endParaRPr lang="en-IN"/>
        </a:p>
      </dgm:t>
    </dgm:pt>
    <dgm:pt modelId="{69EE5D25-004A-4DF6-A046-6B659C73F6ED}" type="sibTrans" cxnId="{1BD1BBC0-D1BF-448E-B47C-9ACAA4E69E72}">
      <dgm:prSet/>
      <dgm:spPr/>
      <dgm:t>
        <a:bodyPr/>
        <a:lstStyle/>
        <a:p>
          <a:endParaRPr lang="en-IN"/>
        </a:p>
      </dgm:t>
    </dgm:pt>
    <dgm:pt modelId="{3B4AD5C5-3134-4F5C-A924-E4C4044FFF37}">
      <dgm:prSet/>
      <dgm:spPr/>
      <dgm:t>
        <a:bodyPr/>
        <a:lstStyle/>
        <a:p>
          <a:pPr>
            <a:buFont typeface="Arial" panose="020B0604020202020204" pitchFamily="34" charset="0"/>
            <a:buChar char="•"/>
          </a:pPr>
          <a:r>
            <a:rPr lang="en-IN" b="0" i="0"/>
            <a:t>Message</a:t>
          </a:r>
        </a:p>
      </dgm:t>
    </dgm:pt>
    <dgm:pt modelId="{338F181C-0C7B-4E4A-A0E4-D6A44BC90779}" type="parTrans" cxnId="{74EC3142-6E20-439E-8553-5D344FED9E90}">
      <dgm:prSet/>
      <dgm:spPr/>
      <dgm:t>
        <a:bodyPr/>
        <a:lstStyle/>
        <a:p>
          <a:endParaRPr lang="en-IN"/>
        </a:p>
      </dgm:t>
    </dgm:pt>
    <dgm:pt modelId="{D1F411A6-01D5-4DBF-BEE2-A99320833EA7}" type="sibTrans" cxnId="{74EC3142-6E20-439E-8553-5D344FED9E90}">
      <dgm:prSet/>
      <dgm:spPr/>
      <dgm:t>
        <a:bodyPr/>
        <a:lstStyle/>
        <a:p>
          <a:endParaRPr lang="en-IN"/>
        </a:p>
      </dgm:t>
    </dgm:pt>
    <dgm:pt modelId="{5BC36D1A-E7FA-487A-B686-99F3B061F54E}">
      <dgm:prSet/>
      <dgm:spPr/>
      <dgm:t>
        <a:bodyPr/>
        <a:lstStyle/>
        <a:p>
          <a:pPr>
            <a:buFont typeface="Arial" panose="020B0604020202020204" pitchFamily="34" charset="0"/>
            <a:buChar char="•"/>
          </a:pPr>
          <a:r>
            <a:rPr lang="en-IN" b="0" i="0"/>
            <a:t>Artifact</a:t>
          </a:r>
        </a:p>
      </dgm:t>
    </dgm:pt>
    <dgm:pt modelId="{A6F88073-560A-4142-906A-BE60133CF8F7}" type="parTrans" cxnId="{1B8D1D66-03A9-4692-85B5-9AA9552F4824}">
      <dgm:prSet/>
      <dgm:spPr/>
      <dgm:t>
        <a:bodyPr/>
        <a:lstStyle/>
        <a:p>
          <a:endParaRPr lang="en-IN"/>
        </a:p>
      </dgm:t>
    </dgm:pt>
    <dgm:pt modelId="{368B8B15-BB28-4B35-8D8F-0509E5CF55CF}" type="sibTrans" cxnId="{1B8D1D66-03A9-4692-85B5-9AA9552F4824}">
      <dgm:prSet/>
      <dgm:spPr/>
      <dgm:t>
        <a:bodyPr/>
        <a:lstStyle/>
        <a:p>
          <a:endParaRPr lang="en-IN"/>
        </a:p>
      </dgm:t>
    </dgm:pt>
    <dgm:pt modelId="{700C7FDE-7C52-43AF-A912-54EAAC560290}">
      <dgm:prSet/>
      <dgm:spPr/>
      <dgm:t>
        <a:bodyPr/>
        <a:lstStyle/>
        <a:p>
          <a:pPr>
            <a:buFont typeface="Arial" panose="020B0604020202020204" pitchFamily="34" charset="0"/>
            <a:buChar char="•"/>
          </a:pPr>
          <a:r>
            <a:rPr lang="en-IN" b="0" i="0"/>
            <a:t>Part</a:t>
          </a:r>
        </a:p>
      </dgm:t>
    </dgm:pt>
    <dgm:pt modelId="{7084C206-3097-4C95-AC00-583DE7B0FFD2}" type="parTrans" cxnId="{27221E02-2CF1-4314-BD18-7114235688AF}">
      <dgm:prSet/>
      <dgm:spPr/>
      <dgm:t>
        <a:bodyPr/>
        <a:lstStyle/>
        <a:p>
          <a:endParaRPr lang="en-IN"/>
        </a:p>
      </dgm:t>
    </dgm:pt>
    <dgm:pt modelId="{159D71C1-4030-4B12-937F-367102B2E3CE}" type="sibTrans" cxnId="{27221E02-2CF1-4314-BD18-7114235688AF}">
      <dgm:prSet/>
      <dgm:spPr/>
      <dgm:t>
        <a:bodyPr/>
        <a:lstStyle/>
        <a:p>
          <a:endParaRPr lang="en-IN"/>
        </a:p>
      </dgm:t>
    </dgm:pt>
    <dgm:pt modelId="{38051F64-2302-40C5-A7B3-D584DDC7FF23}">
      <dgm:prSet/>
      <dgm:spPr/>
      <dgm:t>
        <a:bodyPr/>
        <a:lstStyle/>
        <a:p>
          <a:pPr>
            <a:buFont typeface="Arial" panose="020B0604020202020204" pitchFamily="34" charset="0"/>
            <a:buChar char="•"/>
          </a:pPr>
          <a:r>
            <a:rPr lang="en-IN" b="0" i="0" dirty="0"/>
            <a:t>A2A server</a:t>
          </a:r>
        </a:p>
      </dgm:t>
    </dgm:pt>
    <dgm:pt modelId="{F108C553-8324-4FE9-9B80-B7A736B97AD1}" type="parTrans" cxnId="{FD6E79DB-986A-47B6-94B9-DC1A3B4E851D}">
      <dgm:prSet/>
      <dgm:spPr/>
      <dgm:t>
        <a:bodyPr/>
        <a:lstStyle/>
        <a:p>
          <a:endParaRPr lang="en-IN"/>
        </a:p>
      </dgm:t>
    </dgm:pt>
    <dgm:pt modelId="{EAD3042E-92EF-4604-B464-0254D405E841}" type="sibTrans" cxnId="{FD6E79DB-986A-47B6-94B9-DC1A3B4E851D}">
      <dgm:prSet/>
      <dgm:spPr/>
      <dgm:t>
        <a:bodyPr/>
        <a:lstStyle/>
        <a:p>
          <a:endParaRPr lang="en-IN"/>
        </a:p>
      </dgm:t>
    </dgm:pt>
    <dgm:pt modelId="{5BB8388A-7E96-4357-A3B4-3430862F4183}" type="pres">
      <dgm:prSet presAssocID="{979F9A38-6828-456D-8B55-9233029280D8}" presName="diagram" presStyleCnt="0">
        <dgm:presLayoutVars>
          <dgm:dir/>
          <dgm:resizeHandles val="exact"/>
        </dgm:presLayoutVars>
      </dgm:prSet>
      <dgm:spPr/>
    </dgm:pt>
    <dgm:pt modelId="{49B66739-2BE6-48D3-B4D2-0CDE16D5D9B3}" type="pres">
      <dgm:prSet presAssocID="{3DEA3755-BF8A-46B8-8312-DA995666DF57}" presName="node" presStyleLbl="node1" presStyleIdx="0" presStyleCnt="7">
        <dgm:presLayoutVars>
          <dgm:bulletEnabled val="1"/>
        </dgm:presLayoutVars>
      </dgm:prSet>
      <dgm:spPr/>
    </dgm:pt>
    <dgm:pt modelId="{EC5C178E-1A9C-4B64-BF35-72172F01F379}" type="pres">
      <dgm:prSet presAssocID="{323201D1-84E1-40D5-813D-FFE0D8363A62}" presName="sibTrans" presStyleCnt="0"/>
      <dgm:spPr/>
    </dgm:pt>
    <dgm:pt modelId="{161F2EE5-0B72-4B09-AEAE-FC9C295E8B47}" type="pres">
      <dgm:prSet presAssocID="{38051F64-2302-40C5-A7B3-D584DDC7FF23}" presName="node" presStyleLbl="node1" presStyleIdx="1" presStyleCnt="7">
        <dgm:presLayoutVars>
          <dgm:bulletEnabled val="1"/>
        </dgm:presLayoutVars>
      </dgm:prSet>
      <dgm:spPr/>
    </dgm:pt>
    <dgm:pt modelId="{B52B3A0A-A215-405E-A91E-84ED9F7357F2}" type="pres">
      <dgm:prSet presAssocID="{EAD3042E-92EF-4604-B464-0254D405E841}" presName="sibTrans" presStyleCnt="0"/>
      <dgm:spPr/>
    </dgm:pt>
    <dgm:pt modelId="{32C85F73-B5D8-4B95-92AD-59A7A6697B15}" type="pres">
      <dgm:prSet presAssocID="{7B445DB7-F4C2-4854-806B-17C421C8FB3A}" presName="node" presStyleLbl="node1" presStyleIdx="2" presStyleCnt="7">
        <dgm:presLayoutVars>
          <dgm:bulletEnabled val="1"/>
        </dgm:presLayoutVars>
      </dgm:prSet>
      <dgm:spPr/>
    </dgm:pt>
    <dgm:pt modelId="{28551337-3670-4AEE-A6C2-E3CC45FD6F09}" type="pres">
      <dgm:prSet presAssocID="{B17C637C-13FE-4374-B0C6-309890B5535E}" presName="sibTrans" presStyleCnt="0"/>
      <dgm:spPr/>
    </dgm:pt>
    <dgm:pt modelId="{803FE18F-5302-455C-AE30-05598A223901}" type="pres">
      <dgm:prSet presAssocID="{A1B484AB-8CDE-42B7-9EB7-173EC8BF8888}" presName="node" presStyleLbl="node1" presStyleIdx="3" presStyleCnt="7">
        <dgm:presLayoutVars>
          <dgm:bulletEnabled val="1"/>
        </dgm:presLayoutVars>
      </dgm:prSet>
      <dgm:spPr/>
    </dgm:pt>
    <dgm:pt modelId="{3C267F2C-2A28-4551-8BFE-DD316B300407}" type="pres">
      <dgm:prSet presAssocID="{69EE5D25-004A-4DF6-A046-6B659C73F6ED}" presName="sibTrans" presStyleCnt="0"/>
      <dgm:spPr/>
    </dgm:pt>
    <dgm:pt modelId="{BB02CA96-2673-4E25-8906-72B1FCA375C3}" type="pres">
      <dgm:prSet presAssocID="{3B4AD5C5-3134-4F5C-A924-E4C4044FFF37}" presName="node" presStyleLbl="node1" presStyleIdx="4" presStyleCnt="7">
        <dgm:presLayoutVars>
          <dgm:bulletEnabled val="1"/>
        </dgm:presLayoutVars>
      </dgm:prSet>
      <dgm:spPr/>
    </dgm:pt>
    <dgm:pt modelId="{91A9E2FA-A8B3-4B56-A6CD-7196AB6AB97C}" type="pres">
      <dgm:prSet presAssocID="{D1F411A6-01D5-4DBF-BEE2-A99320833EA7}" presName="sibTrans" presStyleCnt="0"/>
      <dgm:spPr/>
    </dgm:pt>
    <dgm:pt modelId="{89206D51-B574-4B19-8450-94A7CD59AF27}" type="pres">
      <dgm:prSet presAssocID="{5BC36D1A-E7FA-487A-B686-99F3B061F54E}" presName="node" presStyleLbl="node1" presStyleIdx="5" presStyleCnt="7">
        <dgm:presLayoutVars>
          <dgm:bulletEnabled val="1"/>
        </dgm:presLayoutVars>
      </dgm:prSet>
      <dgm:spPr/>
    </dgm:pt>
    <dgm:pt modelId="{D599E014-9908-4378-B996-3C2A538DF03E}" type="pres">
      <dgm:prSet presAssocID="{368B8B15-BB28-4B35-8D8F-0509E5CF55CF}" presName="sibTrans" presStyleCnt="0"/>
      <dgm:spPr/>
    </dgm:pt>
    <dgm:pt modelId="{D77EC46B-8C26-4E8E-A9D9-5E87D74755D6}" type="pres">
      <dgm:prSet presAssocID="{700C7FDE-7C52-43AF-A912-54EAAC560290}" presName="node" presStyleLbl="node1" presStyleIdx="6" presStyleCnt="7">
        <dgm:presLayoutVars>
          <dgm:bulletEnabled val="1"/>
        </dgm:presLayoutVars>
      </dgm:prSet>
      <dgm:spPr/>
    </dgm:pt>
  </dgm:ptLst>
  <dgm:cxnLst>
    <dgm:cxn modelId="{27221E02-2CF1-4314-BD18-7114235688AF}" srcId="{979F9A38-6828-456D-8B55-9233029280D8}" destId="{700C7FDE-7C52-43AF-A912-54EAAC560290}" srcOrd="6" destOrd="0" parTransId="{7084C206-3097-4C95-AC00-583DE7B0FFD2}" sibTransId="{159D71C1-4030-4B12-937F-367102B2E3CE}"/>
    <dgm:cxn modelId="{5AD9A215-BE49-464B-9900-FCCD112B1F3C}" type="presOf" srcId="{38051F64-2302-40C5-A7B3-D584DDC7FF23}" destId="{161F2EE5-0B72-4B09-AEAE-FC9C295E8B47}" srcOrd="0" destOrd="0" presId="urn:microsoft.com/office/officeart/2005/8/layout/default"/>
    <dgm:cxn modelId="{69601F23-3186-45B1-B319-9C5525F5C7C9}" type="presOf" srcId="{A1B484AB-8CDE-42B7-9EB7-173EC8BF8888}" destId="{803FE18F-5302-455C-AE30-05598A223901}" srcOrd="0" destOrd="0" presId="urn:microsoft.com/office/officeart/2005/8/layout/default"/>
    <dgm:cxn modelId="{7273A024-C537-41D1-A9BC-AEBC9578A6CD}" type="presOf" srcId="{3DEA3755-BF8A-46B8-8312-DA995666DF57}" destId="{49B66739-2BE6-48D3-B4D2-0CDE16D5D9B3}" srcOrd="0" destOrd="0" presId="urn:microsoft.com/office/officeart/2005/8/layout/default"/>
    <dgm:cxn modelId="{74EC3142-6E20-439E-8553-5D344FED9E90}" srcId="{979F9A38-6828-456D-8B55-9233029280D8}" destId="{3B4AD5C5-3134-4F5C-A924-E4C4044FFF37}" srcOrd="4" destOrd="0" parTransId="{338F181C-0C7B-4E4A-A0E4-D6A44BC90779}" sibTransId="{D1F411A6-01D5-4DBF-BEE2-A99320833EA7}"/>
    <dgm:cxn modelId="{C4EF4564-E46D-48D9-ACB1-E67C2DAADC6B}" type="presOf" srcId="{7B445DB7-F4C2-4854-806B-17C421C8FB3A}" destId="{32C85F73-B5D8-4B95-92AD-59A7A6697B15}" srcOrd="0" destOrd="0" presId="urn:microsoft.com/office/officeart/2005/8/layout/default"/>
    <dgm:cxn modelId="{1B8D1D66-03A9-4692-85B5-9AA9552F4824}" srcId="{979F9A38-6828-456D-8B55-9233029280D8}" destId="{5BC36D1A-E7FA-487A-B686-99F3B061F54E}" srcOrd="5" destOrd="0" parTransId="{A6F88073-560A-4142-906A-BE60133CF8F7}" sibTransId="{368B8B15-BB28-4B35-8D8F-0509E5CF55CF}"/>
    <dgm:cxn modelId="{2D42F348-ECF6-4B28-B4E1-B1D3697905AC}" srcId="{979F9A38-6828-456D-8B55-9233029280D8}" destId="{7B445DB7-F4C2-4854-806B-17C421C8FB3A}" srcOrd="2" destOrd="0" parTransId="{60CA6942-28F2-48B3-8A64-6CB202C1E125}" sibTransId="{B17C637C-13FE-4374-B0C6-309890B5535E}"/>
    <dgm:cxn modelId="{B5C174A1-729E-481B-BAA0-4DBE5EBA7C0D}" type="presOf" srcId="{979F9A38-6828-456D-8B55-9233029280D8}" destId="{5BB8388A-7E96-4357-A3B4-3430862F4183}" srcOrd="0" destOrd="0" presId="urn:microsoft.com/office/officeart/2005/8/layout/default"/>
    <dgm:cxn modelId="{3B81A7A3-71BE-4DFF-AF1F-DA66CC0AD1ED}" type="presOf" srcId="{700C7FDE-7C52-43AF-A912-54EAAC560290}" destId="{D77EC46B-8C26-4E8E-A9D9-5E87D74755D6}" srcOrd="0" destOrd="0" presId="urn:microsoft.com/office/officeart/2005/8/layout/default"/>
    <dgm:cxn modelId="{1BD1BBC0-D1BF-448E-B47C-9ACAA4E69E72}" srcId="{979F9A38-6828-456D-8B55-9233029280D8}" destId="{A1B484AB-8CDE-42B7-9EB7-173EC8BF8888}" srcOrd="3" destOrd="0" parTransId="{C0FFB386-A27C-4362-AD5F-4FA9F80BC011}" sibTransId="{69EE5D25-004A-4DF6-A046-6B659C73F6ED}"/>
    <dgm:cxn modelId="{FD6E79DB-986A-47B6-94B9-DC1A3B4E851D}" srcId="{979F9A38-6828-456D-8B55-9233029280D8}" destId="{38051F64-2302-40C5-A7B3-D584DDC7FF23}" srcOrd="1" destOrd="0" parTransId="{F108C553-8324-4FE9-9B80-B7A736B97AD1}" sibTransId="{EAD3042E-92EF-4604-B464-0254D405E841}"/>
    <dgm:cxn modelId="{19BF85E7-434A-4D08-8386-7A7D5D0ECB84}" srcId="{979F9A38-6828-456D-8B55-9233029280D8}" destId="{3DEA3755-BF8A-46B8-8312-DA995666DF57}" srcOrd="0" destOrd="0" parTransId="{7EEC1C46-7B4D-47EA-963E-0B7083AD6D13}" sibTransId="{323201D1-84E1-40D5-813D-FFE0D8363A62}"/>
    <dgm:cxn modelId="{DAD788F5-C697-4977-8897-BE9F5CEA2860}" type="presOf" srcId="{5BC36D1A-E7FA-487A-B686-99F3B061F54E}" destId="{89206D51-B574-4B19-8450-94A7CD59AF27}" srcOrd="0" destOrd="0" presId="urn:microsoft.com/office/officeart/2005/8/layout/default"/>
    <dgm:cxn modelId="{865690F9-A6E2-42CF-B4D7-8B07E5E10CB7}" type="presOf" srcId="{3B4AD5C5-3134-4F5C-A924-E4C4044FFF37}" destId="{BB02CA96-2673-4E25-8906-72B1FCA375C3}" srcOrd="0" destOrd="0" presId="urn:microsoft.com/office/officeart/2005/8/layout/default"/>
    <dgm:cxn modelId="{E35506B8-C08B-483C-9F5C-124F11D0EC87}" type="presParOf" srcId="{5BB8388A-7E96-4357-A3B4-3430862F4183}" destId="{49B66739-2BE6-48D3-B4D2-0CDE16D5D9B3}" srcOrd="0" destOrd="0" presId="urn:microsoft.com/office/officeart/2005/8/layout/default"/>
    <dgm:cxn modelId="{4FACF217-78DE-4FE4-A0AD-774197A2DB7B}" type="presParOf" srcId="{5BB8388A-7E96-4357-A3B4-3430862F4183}" destId="{EC5C178E-1A9C-4B64-BF35-72172F01F379}" srcOrd="1" destOrd="0" presId="urn:microsoft.com/office/officeart/2005/8/layout/default"/>
    <dgm:cxn modelId="{5BA2C115-663B-4DCA-88FE-AB0A4EB83A5C}" type="presParOf" srcId="{5BB8388A-7E96-4357-A3B4-3430862F4183}" destId="{161F2EE5-0B72-4B09-AEAE-FC9C295E8B47}" srcOrd="2" destOrd="0" presId="urn:microsoft.com/office/officeart/2005/8/layout/default"/>
    <dgm:cxn modelId="{425DB9DE-959E-4061-99DC-27F2018F71B0}" type="presParOf" srcId="{5BB8388A-7E96-4357-A3B4-3430862F4183}" destId="{B52B3A0A-A215-405E-A91E-84ED9F7357F2}" srcOrd="3" destOrd="0" presId="urn:microsoft.com/office/officeart/2005/8/layout/default"/>
    <dgm:cxn modelId="{9CAA1163-AAAB-42C5-BAD8-6CBD69CE38E1}" type="presParOf" srcId="{5BB8388A-7E96-4357-A3B4-3430862F4183}" destId="{32C85F73-B5D8-4B95-92AD-59A7A6697B15}" srcOrd="4" destOrd="0" presId="urn:microsoft.com/office/officeart/2005/8/layout/default"/>
    <dgm:cxn modelId="{8EA99E90-03C9-45C8-B653-B5EB4C73079E}" type="presParOf" srcId="{5BB8388A-7E96-4357-A3B4-3430862F4183}" destId="{28551337-3670-4AEE-A6C2-E3CC45FD6F09}" srcOrd="5" destOrd="0" presId="urn:microsoft.com/office/officeart/2005/8/layout/default"/>
    <dgm:cxn modelId="{703EEA18-E5D7-44B2-9F54-61BFC733196F}" type="presParOf" srcId="{5BB8388A-7E96-4357-A3B4-3430862F4183}" destId="{803FE18F-5302-455C-AE30-05598A223901}" srcOrd="6" destOrd="0" presId="urn:microsoft.com/office/officeart/2005/8/layout/default"/>
    <dgm:cxn modelId="{37EDAAED-C4BD-476B-B616-94E4C7379501}" type="presParOf" srcId="{5BB8388A-7E96-4357-A3B4-3430862F4183}" destId="{3C267F2C-2A28-4551-8BFE-DD316B300407}" srcOrd="7" destOrd="0" presId="urn:microsoft.com/office/officeart/2005/8/layout/default"/>
    <dgm:cxn modelId="{B9B3241B-229A-4FE2-9886-88DE2B41F65F}" type="presParOf" srcId="{5BB8388A-7E96-4357-A3B4-3430862F4183}" destId="{BB02CA96-2673-4E25-8906-72B1FCA375C3}" srcOrd="8" destOrd="0" presId="urn:microsoft.com/office/officeart/2005/8/layout/default"/>
    <dgm:cxn modelId="{53A03257-311C-46BC-9E45-A42285FA3B30}" type="presParOf" srcId="{5BB8388A-7E96-4357-A3B4-3430862F4183}" destId="{91A9E2FA-A8B3-4B56-A6CD-7196AB6AB97C}" srcOrd="9" destOrd="0" presId="urn:microsoft.com/office/officeart/2005/8/layout/default"/>
    <dgm:cxn modelId="{86BC7852-73BD-4B2D-9935-E568B87AD76F}" type="presParOf" srcId="{5BB8388A-7E96-4357-A3B4-3430862F4183}" destId="{89206D51-B574-4B19-8450-94A7CD59AF27}" srcOrd="10" destOrd="0" presId="urn:microsoft.com/office/officeart/2005/8/layout/default"/>
    <dgm:cxn modelId="{89A8A0B2-DF68-4CC6-923B-D53C768CD646}" type="presParOf" srcId="{5BB8388A-7E96-4357-A3B4-3430862F4183}" destId="{D599E014-9908-4378-B996-3C2A538DF03E}" srcOrd="11" destOrd="0" presId="urn:microsoft.com/office/officeart/2005/8/layout/default"/>
    <dgm:cxn modelId="{42247B08-4F7F-427D-8C26-51EE49B52E9B}" type="presParOf" srcId="{5BB8388A-7E96-4357-A3B4-3430862F4183}" destId="{D77EC46B-8C26-4E8E-A9D9-5E87D74755D6}"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9F9A38-6828-456D-8B55-9233029280D8}" type="doc">
      <dgm:prSet loTypeId="urn:microsoft.com/office/officeart/2005/8/layout/list1" loCatId="list" qsTypeId="urn:microsoft.com/office/officeart/2005/8/quickstyle/3d2" qsCatId="3D" csTypeId="urn:microsoft.com/office/officeart/2005/8/colors/accent1_2" csCatId="accent1" phldr="1"/>
      <dgm:spPr/>
      <dgm:t>
        <a:bodyPr/>
        <a:lstStyle/>
        <a:p>
          <a:endParaRPr lang="en-IN"/>
        </a:p>
      </dgm:t>
    </dgm:pt>
    <dgm:pt modelId="{3DEA3755-BF8A-46B8-8312-DA995666DF57}">
      <dgm:prSet custT="1"/>
      <dgm:spPr/>
      <dgm:t>
        <a:bodyPr/>
        <a:lstStyle/>
        <a:p>
          <a:pPr>
            <a:buFont typeface="Arial" panose="020B0604020202020204" pitchFamily="34" charset="0"/>
            <a:buChar char="•"/>
          </a:pPr>
          <a:r>
            <a:rPr lang="en-IN" sz="1400" b="0" i="0" dirty="0">
              <a:latin typeface="Arial" panose="020B0604020202020204" pitchFamily="34" charset="0"/>
              <a:cs typeface="Arial" panose="020B0604020202020204" pitchFamily="34" charset="0"/>
            </a:rPr>
            <a:t>A2A client </a:t>
          </a:r>
        </a:p>
      </dgm:t>
    </dgm:pt>
    <dgm:pt modelId="{7EEC1C46-7B4D-47EA-963E-0B7083AD6D13}" type="parTrans" cxnId="{19BF85E7-434A-4D08-8386-7A7D5D0ECB84}">
      <dgm:prSet/>
      <dgm:spPr/>
      <dgm:t>
        <a:bodyPr/>
        <a:lstStyle/>
        <a:p>
          <a:endParaRPr lang="en-IN" sz="1400">
            <a:latin typeface="Arial" panose="020B0604020202020204" pitchFamily="34" charset="0"/>
            <a:cs typeface="Arial" panose="020B0604020202020204" pitchFamily="34" charset="0"/>
          </a:endParaRPr>
        </a:p>
      </dgm:t>
    </dgm:pt>
    <dgm:pt modelId="{323201D1-84E1-40D5-813D-FFE0D8363A62}" type="sibTrans" cxnId="{19BF85E7-434A-4D08-8386-7A7D5D0ECB84}">
      <dgm:prSet/>
      <dgm:spPr/>
      <dgm:t>
        <a:bodyPr/>
        <a:lstStyle/>
        <a:p>
          <a:endParaRPr lang="en-IN" sz="1400">
            <a:latin typeface="Arial" panose="020B0604020202020204" pitchFamily="34" charset="0"/>
            <a:cs typeface="Arial" panose="020B0604020202020204" pitchFamily="34" charset="0"/>
          </a:endParaRPr>
        </a:p>
      </dgm:t>
    </dgm:pt>
    <dgm:pt modelId="{7B445DB7-F4C2-4854-806B-17C421C8FB3A}">
      <dgm:prSet custT="1"/>
      <dgm:spPr/>
      <dgm:t>
        <a:bodyPr/>
        <a:lstStyle/>
        <a:p>
          <a:pPr>
            <a:buFont typeface="Arial" panose="020B0604020202020204" pitchFamily="34" charset="0"/>
            <a:buChar char="•"/>
          </a:pPr>
          <a:r>
            <a:rPr lang="en-IN" sz="1400" b="0" i="0" dirty="0">
              <a:latin typeface="Arial" panose="020B0604020202020204" pitchFamily="34" charset="0"/>
              <a:cs typeface="Arial" panose="020B0604020202020204" pitchFamily="34" charset="0"/>
            </a:rPr>
            <a:t>Agent card</a:t>
          </a:r>
        </a:p>
      </dgm:t>
    </dgm:pt>
    <dgm:pt modelId="{60CA6942-28F2-48B3-8A64-6CB202C1E125}" type="parTrans" cxnId="{2D42F348-ECF6-4B28-B4E1-B1D3697905AC}">
      <dgm:prSet/>
      <dgm:spPr/>
      <dgm:t>
        <a:bodyPr/>
        <a:lstStyle/>
        <a:p>
          <a:endParaRPr lang="en-IN" sz="1400">
            <a:latin typeface="Arial" panose="020B0604020202020204" pitchFamily="34" charset="0"/>
            <a:cs typeface="Arial" panose="020B0604020202020204" pitchFamily="34" charset="0"/>
          </a:endParaRPr>
        </a:p>
      </dgm:t>
    </dgm:pt>
    <dgm:pt modelId="{B17C637C-13FE-4374-B0C6-309890B5535E}" type="sibTrans" cxnId="{2D42F348-ECF6-4B28-B4E1-B1D3697905AC}">
      <dgm:prSet/>
      <dgm:spPr/>
      <dgm:t>
        <a:bodyPr/>
        <a:lstStyle/>
        <a:p>
          <a:endParaRPr lang="en-IN" sz="1400">
            <a:latin typeface="Arial" panose="020B0604020202020204" pitchFamily="34" charset="0"/>
            <a:cs typeface="Arial" panose="020B0604020202020204" pitchFamily="34" charset="0"/>
          </a:endParaRPr>
        </a:p>
      </dgm:t>
    </dgm:pt>
    <dgm:pt modelId="{A1B484AB-8CDE-42B7-9EB7-173EC8BF8888}">
      <dgm:prSet custT="1"/>
      <dgm:spPr/>
      <dgm:t>
        <a:bodyPr/>
        <a:lstStyle/>
        <a:p>
          <a:pPr>
            <a:buFont typeface="Arial" panose="020B0604020202020204" pitchFamily="34" charset="0"/>
            <a:buChar char="•"/>
          </a:pPr>
          <a:r>
            <a:rPr lang="en-IN" sz="1400" b="0" i="0" dirty="0">
              <a:latin typeface="Arial" panose="020B0604020202020204" pitchFamily="34" charset="0"/>
              <a:cs typeface="Arial" panose="020B0604020202020204" pitchFamily="34" charset="0"/>
            </a:rPr>
            <a:t>Task</a:t>
          </a:r>
        </a:p>
      </dgm:t>
    </dgm:pt>
    <dgm:pt modelId="{C0FFB386-A27C-4362-AD5F-4FA9F80BC011}" type="parTrans" cxnId="{1BD1BBC0-D1BF-448E-B47C-9ACAA4E69E72}">
      <dgm:prSet/>
      <dgm:spPr/>
      <dgm:t>
        <a:bodyPr/>
        <a:lstStyle/>
        <a:p>
          <a:endParaRPr lang="en-IN" sz="1400">
            <a:latin typeface="Arial" panose="020B0604020202020204" pitchFamily="34" charset="0"/>
            <a:cs typeface="Arial" panose="020B0604020202020204" pitchFamily="34" charset="0"/>
          </a:endParaRPr>
        </a:p>
      </dgm:t>
    </dgm:pt>
    <dgm:pt modelId="{69EE5D25-004A-4DF6-A046-6B659C73F6ED}" type="sibTrans" cxnId="{1BD1BBC0-D1BF-448E-B47C-9ACAA4E69E72}">
      <dgm:prSet/>
      <dgm:spPr/>
      <dgm:t>
        <a:bodyPr/>
        <a:lstStyle/>
        <a:p>
          <a:endParaRPr lang="en-IN" sz="1400">
            <a:latin typeface="Arial" panose="020B0604020202020204" pitchFamily="34" charset="0"/>
            <a:cs typeface="Arial" panose="020B0604020202020204" pitchFamily="34" charset="0"/>
          </a:endParaRPr>
        </a:p>
      </dgm:t>
    </dgm:pt>
    <dgm:pt modelId="{38051F64-2302-40C5-A7B3-D584DDC7FF23}">
      <dgm:prSet custT="1"/>
      <dgm:spPr/>
      <dgm:t>
        <a:bodyPr/>
        <a:lstStyle/>
        <a:p>
          <a:pPr>
            <a:buFont typeface="Arial" panose="020B0604020202020204" pitchFamily="34" charset="0"/>
            <a:buChar char="•"/>
          </a:pPr>
          <a:r>
            <a:rPr lang="en-IN" sz="1400" b="0" i="0" dirty="0">
              <a:latin typeface="Arial" panose="020B0604020202020204" pitchFamily="34" charset="0"/>
              <a:cs typeface="Arial" panose="020B0604020202020204" pitchFamily="34" charset="0"/>
            </a:rPr>
            <a:t>A2A server</a:t>
          </a:r>
        </a:p>
      </dgm:t>
    </dgm:pt>
    <dgm:pt modelId="{F108C553-8324-4FE9-9B80-B7A736B97AD1}" type="parTrans" cxnId="{FD6E79DB-986A-47B6-94B9-DC1A3B4E851D}">
      <dgm:prSet/>
      <dgm:spPr/>
      <dgm:t>
        <a:bodyPr/>
        <a:lstStyle/>
        <a:p>
          <a:endParaRPr lang="en-IN" sz="1400">
            <a:latin typeface="Arial" panose="020B0604020202020204" pitchFamily="34" charset="0"/>
            <a:cs typeface="Arial" panose="020B0604020202020204" pitchFamily="34" charset="0"/>
          </a:endParaRPr>
        </a:p>
      </dgm:t>
    </dgm:pt>
    <dgm:pt modelId="{EAD3042E-92EF-4604-B464-0254D405E841}" type="sibTrans" cxnId="{FD6E79DB-986A-47B6-94B9-DC1A3B4E851D}">
      <dgm:prSet/>
      <dgm:spPr/>
      <dgm:t>
        <a:bodyPr/>
        <a:lstStyle/>
        <a:p>
          <a:endParaRPr lang="en-IN" sz="1400">
            <a:latin typeface="Arial" panose="020B0604020202020204" pitchFamily="34" charset="0"/>
            <a:cs typeface="Arial" panose="020B0604020202020204" pitchFamily="34" charset="0"/>
          </a:endParaRPr>
        </a:p>
      </dgm:t>
    </dgm:pt>
    <dgm:pt modelId="{11B662CA-17AD-4371-905F-F771AE4A472A}">
      <dgm:prSet custT="1"/>
      <dgm:spPr/>
      <dgm:t>
        <a:bodyPr/>
        <a:lstStyle/>
        <a:p>
          <a:pPr>
            <a:buNone/>
          </a:pPr>
          <a:r>
            <a:rPr lang="en-IN" sz="1400" b="0" i="0" dirty="0">
              <a:latin typeface="Arial" panose="020B0604020202020204" pitchFamily="34" charset="0"/>
              <a:cs typeface="Arial" panose="020B0604020202020204" pitchFamily="34" charset="0"/>
            </a:rPr>
            <a:t>The A2A client, also known as the client agent, can be an app, service or other AI agent that delegates requests to remote agents. It uses the Agent2Agent protocol to initiate communication.</a:t>
          </a:r>
          <a:endParaRPr lang="en-IN" sz="1400" dirty="0">
            <a:latin typeface="Arial" panose="020B0604020202020204" pitchFamily="34" charset="0"/>
            <a:cs typeface="Arial" panose="020B0604020202020204" pitchFamily="34" charset="0"/>
          </a:endParaRPr>
        </a:p>
      </dgm:t>
    </dgm:pt>
    <dgm:pt modelId="{99DF89DF-A769-4624-AB12-8C989EAA25A7}" type="parTrans" cxnId="{14E5155B-C299-4B81-B8E6-B08A6351DBB3}">
      <dgm:prSet/>
      <dgm:spPr/>
      <dgm:t>
        <a:bodyPr/>
        <a:lstStyle/>
        <a:p>
          <a:endParaRPr lang="en-IN" sz="1400">
            <a:latin typeface="Arial" panose="020B0604020202020204" pitchFamily="34" charset="0"/>
            <a:cs typeface="Arial" panose="020B0604020202020204" pitchFamily="34" charset="0"/>
          </a:endParaRPr>
        </a:p>
      </dgm:t>
    </dgm:pt>
    <dgm:pt modelId="{C668F20F-EC8A-4E68-90EB-028DA234ACF5}" type="sibTrans" cxnId="{14E5155B-C299-4B81-B8E6-B08A6351DBB3}">
      <dgm:prSet/>
      <dgm:spPr/>
      <dgm:t>
        <a:bodyPr/>
        <a:lstStyle/>
        <a:p>
          <a:endParaRPr lang="en-IN" sz="1400">
            <a:latin typeface="Arial" panose="020B0604020202020204" pitchFamily="34" charset="0"/>
            <a:cs typeface="Arial" panose="020B0604020202020204" pitchFamily="34" charset="0"/>
          </a:endParaRPr>
        </a:p>
      </dgm:t>
    </dgm:pt>
    <dgm:pt modelId="{FBC6A494-8203-492F-9C6B-FE8F257DE93B}">
      <dgm:prSet custT="1"/>
      <dgm:spPr/>
      <dgm:t>
        <a:bodyPr/>
        <a:lstStyle/>
        <a:p>
          <a:pPr>
            <a:buNone/>
          </a:pPr>
          <a:r>
            <a:rPr lang="en-IN" sz="1400" b="0" i="0" dirty="0">
              <a:latin typeface="Arial" panose="020B0604020202020204" pitchFamily="34" charset="0"/>
              <a:cs typeface="Arial" panose="020B0604020202020204" pitchFamily="34" charset="0"/>
            </a:rPr>
            <a:t>The A2A server, also called the remote agent, takes requests, processes tasks and responds with status updates or results. It exposes an HTTP endpoint that’s compatible with the Agent2Agent protocol.</a:t>
          </a:r>
          <a:endParaRPr lang="en-IN" sz="1400" dirty="0">
            <a:latin typeface="Arial" panose="020B0604020202020204" pitchFamily="34" charset="0"/>
            <a:cs typeface="Arial" panose="020B0604020202020204" pitchFamily="34" charset="0"/>
          </a:endParaRPr>
        </a:p>
      </dgm:t>
    </dgm:pt>
    <dgm:pt modelId="{56CD6923-1374-4AB5-B287-AA1ED4E21C89}" type="parTrans" cxnId="{568263B4-B234-433D-A4D6-AECB270D27AC}">
      <dgm:prSet/>
      <dgm:spPr/>
      <dgm:t>
        <a:bodyPr/>
        <a:lstStyle/>
        <a:p>
          <a:endParaRPr lang="en-IN" sz="1400">
            <a:latin typeface="Arial" panose="020B0604020202020204" pitchFamily="34" charset="0"/>
            <a:cs typeface="Arial" panose="020B0604020202020204" pitchFamily="34" charset="0"/>
          </a:endParaRPr>
        </a:p>
      </dgm:t>
    </dgm:pt>
    <dgm:pt modelId="{2AC4D780-43E3-42B9-BFE8-BFC793E417F3}" type="sibTrans" cxnId="{568263B4-B234-433D-A4D6-AECB270D27AC}">
      <dgm:prSet/>
      <dgm:spPr/>
      <dgm:t>
        <a:bodyPr/>
        <a:lstStyle/>
        <a:p>
          <a:endParaRPr lang="en-IN" sz="1400">
            <a:latin typeface="Arial" panose="020B0604020202020204" pitchFamily="34" charset="0"/>
            <a:cs typeface="Arial" panose="020B0604020202020204" pitchFamily="34" charset="0"/>
          </a:endParaRPr>
        </a:p>
      </dgm:t>
    </dgm:pt>
    <dgm:pt modelId="{40C2300F-0D02-4507-B918-2BCA84E78979}">
      <dgm:prSet custT="1"/>
      <dgm:spPr/>
      <dgm:t>
        <a:bodyPr/>
        <a:lstStyle/>
        <a:p>
          <a:pPr>
            <a:buNone/>
          </a:pPr>
          <a:r>
            <a:rPr lang="en-IN" sz="1400" b="0" i="0">
              <a:latin typeface="Arial" panose="020B0604020202020204" pitchFamily="34" charset="0"/>
              <a:cs typeface="Arial" panose="020B0604020202020204" pitchFamily="34" charset="0"/>
            </a:rPr>
            <a:t>This JSON file outlines </a:t>
          </a:r>
          <a:r>
            <a:rPr lang="en-IN" sz="1400" b="0" i="0">
              <a:latin typeface="Arial" panose="020B0604020202020204" pitchFamily="34" charset="0"/>
              <a:cs typeface="Arial" panose="020B0604020202020204" pitchFamily="34" charset="0"/>
              <a:hlinkClick xmlns:r="http://schemas.openxmlformats.org/officeDocument/2006/relationships" r:id="rId1"/>
            </a:rPr>
            <a:t>agentic AI</a:t>
          </a:r>
          <a:r>
            <a:rPr lang="en-IN" sz="1400" b="0" i="0">
              <a:latin typeface="Arial" panose="020B0604020202020204" pitchFamily="34" charset="0"/>
              <a:cs typeface="Arial" panose="020B0604020202020204" pitchFamily="34" charset="0"/>
            </a:rPr>
            <a:t> </a:t>
          </a:r>
          <a:r>
            <a:rPr lang="en-IN" sz="1400" b="0" i="0">
              <a:latin typeface="Arial" panose="020B0604020202020204" pitchFamily="34" charset="0"/>
              <a:cs typeface="Arial" panose="020B0604020202020204" pitchFamily="34" charset="0"/>
              <a:hlinkClick xmlns:r="http://schemas.openxmlformats.org/officeDocument/2006/relationships" r:id="rId2"/>
            </a:rPr>
            <a:t>metadata</a:t>
          </a:r>
          <a:r>
            <a:rPr lang="en-IN" sz="1400" b="0" i="0">
              <a:latin typeface="Arial" panose="020B0604020202020204" pitchFamily="34" charset="0"/>
              <a:cs typeface="Arial" panose="020B0604020202020204" pitchFamily="34" charset="0"/>
            </a:rPr>
            <a:t> and can be accessed using a URL. It contains basic information about an agent, including its name, description, version, service endpoint URL, supported modalities or data types and </a:t>
          </a:r>
          <a:r>
            <a:rPr lang="en-IN" sz="1400" b="0" i="0">
              <a:latin typeface="Arial" panose="020B0604020202020204" pitchFamily="34" charset="0"/>
              <a:cs typeface="Arial" panose="020B0604020202020204" pitchFamily="34" charset="0"/>
              <a:hlinkClick xmlns:r="http://schemas.openxmlformats.org/officeDocument/2006/relationships" r:id="rId3"/>
            </a:rPr>
            <a:t>authentication</a:t>
          </a:r>
          <a:r>
            <a:rPr lang="en-IN" sz="1400" b="0" i="0">
              <a:latin typeface="Arial" panose="020B0604020202020204" pitchFamily="34" charset="0"/>
              <a:cs typeface="Arial" panose="020B0604020202020204" pitchFamily="34" charset="0"/>
            </a:rPr>
            <a:t> requirements.</a:t>
          </a:r>
          <a:endParaRPr lang="en-IN" sz="1400">
            <a:latin typeface="Arial" panose="020B0604020202020204" pitchFamily="34" charset="0"/>
            <a:cs typeface="Arial" panose="020B0604020202020204" pitchFamily="34" charset="0"/>
          </a:endParaRPr>
        </a:p>
      </dgm:t>
    </dgm:pt>
    <dgm:pt modelId="{EDF11B87-9149-47E7-9218-8002FFA7A104}" type="parTrans" cxnId="{FA7BB888-3913-4A37-9EE6-8E0D45D79E1F}">
      <dgm:prSet/>
      <dgm:spPr/>
      <dgm:t>
        <a:bodyPr/>
        <a:lstStyle/>
        <a:p>
          <a:endParaRPr lang="en-IN" sz="1400">
            <a:latin typeface="Arial" panose="020B0604020202020204" pitchFamily="34" charset="0"/>
            <a:cs typeface="Arial" panose="020B0604020202020204" pitchFamily="34" charset="0"/>
          </a:endParaRPr>
        </a:p>
      </dgm:t>
    </dgm:pt>
    <dgm:pt modelId="{C7EB0975-B17E-40B2-8795-0DF0E9C733D9}" type="sibTrans" cxnId="{FA7BB888-3913-4A37-9EE6-8E0D45D79E1F}">
      <dgm:prSet/>
      <dgm:spPr/>
      <dgm:t>
        <a:bodyPr/>
        <a:lstStyle/>
        <a:p>
          <a:endParaRPr lang="en-IN" sz="1400">
            <a:latin typeface="Arial" panose="020B0604020202020204" pitchFamily="34" charset="0"/>
            <a:cs typeface="Arial" panose="020B0604020202020204" pitchFamily="34" charset="0"/>
          </a:endParaRPr>
        </a:p>
      </dgm:t>
    </dgm:pt>
    <dgm:pt modelId="{E660F06E-0722-4881-ABBF-87D99D50179D}">
      <dgm:prSet custT="1"/>
      <dgm:spPr/>
      <dgm:t>
        <a:bodyPr/>
        <a:lstStyle/>
        <a:p>
          <a:pPr>
            <a:buNone/>
          </a:pPr>
          <a:r>
            <a:rPr lang="en-IN" sz="1400" b="0" i="0" dirty="0">
              <a:latin typeface="Arial" panose="020B0604020202020204" pitchFamily="34" charset="0"/>
              <a:cs typeface="Arial" panose="020B0604020202020204" pitchFamily="34" charset="0"/>
            </a:rPr>
            <a:t>A task represents a unit of work needed to accomplish a request. It has a unique ID and progresses through a lifecycle of defined states (submitted, working, input-required, completed, failed). Tasks are useful for multi-turn processing or long-running agent-to-agent collaboration.</a:t>
          </a:r>
          <a:endParaRPr lang="en-IN" sz="1400" dirty="0">
            <a:latin typeface="Arial" panose="020B0604020202020204" pitchFamily="34" charset="0"/>
            <a:cs typeface="Arial" panose="020B0604020202020204" pitchFamily="34" charset="0"/>
          </a:endParaRPr>
        </a:p>
      </dgm:t>
    </dgm:pt>
    <dgm:pt modelId="{BDED5F9C-28B1-4F2C-AD64-68D063313EB5}" type="parTrans" cxnId="{3B62A9F5-6913-4300-86FC-0400E0E97654}">
      <dgm:prSet/>
      <dgm:spPr/>
      <dgm:t>
        <a:bodyPr/>
        <a:lstStyle/>
        <a:p>
          <a:endParaRPr lang="en-IN" sz="1400">
            <a:latin typeface="Arial" panose="020B0604020202020204" pitchFamily="34" charset="0"/>
            <a:cs typeface="Arial" panose="020B0604020202020204" pitchFamily="34" charset="0"/>
          </a:endParaRPr>
        </a:p>
      </dgm:t>
    </dgm:pt>
    <dgm:pt modelId="{75689AC8-490B-494D-8C3C-D5347732AD77}" type="sibTrans" cxnId="{3B62A9F5-6913-4300-86FC-0400E0E97654}">
      <dgm:prSet/>
      <dgm:spPr/>
      <dgm:t>
        <a:bodyPr/>
        <a:lstStyle/>
        <a:p>
          <a:endParaRPr lang="en-IN" sz="1400">
            <a:latin typeface="Arial" panose="020B0604020202020204" pitchFamily="34" charset="0"/>
            <a:cs typeface="Arial" panose="020B0604020202020204" pitchFamily="34" charset="0"/>
          </a:endParaRPr>
        </a:p>
      </dgm:t>
    </dgm:pt>
    <dgm:pt modelId="{27790CDD-8475-474C-B344-AC757E2B281F}" type="pres">
      <dgm:prSet presAssocID="{979F9A38-6828-456D-8B55-9233029280D8}" presName="linear" presStyleCnt="0">
        <dgm:presLayoutVars>
          <dgm:dir/>
          <dgm:animLvl val="lvl"/>
          <dgm:resizeHandles val="exact"/>
        </dgm:presLayoutVars>
      </dgm:prSet>
      <dgm:spPr/>
    </dgm:pt>
    <dgm:pt modelId="{0B2BD7DE-2B53-43EC-91C8-465DE4B161D9}" type="pres">
      <dgm:prSet presAssocID="{3DEA3755-BF8A-46B8-8312-DA995666DF57}" presName="parentLin" presStyleCnt="0"/>
      <dgm:spPr/>
    </dgm:pt>
    <dgm:pt modelId="{CE7F5DC2-DD96-4D69-9927-ED46AFA4C236}" type="pres">
      <dgm:prSet presAssocID="{3DEA3755-BF8A-46B8-8312-DA995666DF57}" presName="parentLeftMargin" presStyleLbl="node1" presStyleIdx="0" presStyleCnt="4"/>
      <dgm:spPr/>
    </dgm:pt>
    <dgm:pt modelId="{162F16A4-30C2-469E-A1CD-C3EB5538D03C}" type="pres">
      <dgm:prSet presAssocID="{3DEA3755-BF8A-46B8-8312-DA995666DF57}" presName="parentText" presStyleLbl="node1" presStyleIdx="0" presStyleCnt="4">
        <dgm:presLayoutVars>
          <dgm:chMax val="0"/>
          <dgm:bulletEnabled val="1"/>
        </dgm:presLayoutVars>
      </dgm:prSet>
      <dgm:spPr/>
    </dgm:pt>
    <dgm:pt modelId="{00E2A02A-35AF-4137-9DD0-A721BFE291A5}" type="pres">
      <dgm:prSet presAssocID="{3DEA3755-BF8A-46B8-8312-DA995666DF57}" presName="negativeSpace" presStyleCnt="0"/>
      <dgm:spPr/>
    </dgm:pt>
    <dgm:pt modelId="{0FF6B88E-17D4-4817-BA32-DD36129E9A2F}" type="pres">
      <dgm:prSet presAssocID="{3DEA3755-BF8A-46B8-8312-DA995666DF57}" presName="childText" presStyleLbl="conFgAcc1" presStyleIdx="0" presStyleCnt="4">
        <dgm:presLayoutVars>
          <dgm:bulletEnabled val="1"/>
        </dgm:presLayoutVars>
      </dgm:prSet>
      <dgm:spPr/>
    </dgm:pt>
    <dgm:pt modelId="{0DCADD07-6235-45BC-93A6-C8697CBB0692}" type="pres">
      <dgm:prSet presAssocID="{323201D1-84E1-40D5-813D-FFE0D8363A62}" presName="spaceBetweenRectangles" presStyleCnt="0"/>
      <dgm:spPr/>
    </dgm:pt>
    <dgm:pt modelId="{8525D01B-19BB-442A-8BB5-7D4F910349F2}" type="pres">
      <dgm:prSet presAssocID="{38051F64-2302-40C5-A7B3-D584DDC7FF23}" presName="parentLin" presStyleCnt="0"/>
      <dgm:spPr/>
    </dgm:pt>
    <dgm:pt modelId="{698F19BE-48AE-47F0-BD36-FE30BF4612BD}" type="pres">
      <dgm:prSet presAssocID="{38051F64-2302-40C5-A7B3-D584DDC7FF23}" presName="parentLeftMargin" presStyleLbl="node1" presStyleIdx="0" presStyleCnt="4"/>
      <dgm:spPr/>
    </dgm:pt>
    <dgm:pt modelId="{DC56AE89-D4E9-44A7-8C50-81AFBB6A827C}" type="pres">
      <dgm:prSet presAssocID="{38051F64-2302-40C5-A7B3-D584DDC7FF23}" presName="parentText" presStyleLbl="node1" presStyleIdx="1" presStyleCnt="4">
        <dgm:presLayoutVars>
          <dgm:chMax val="0"/>
          <dgm:bulletEnabled val="1"/>
        </dgm:presLayoutVars>
      </dgm:prSet>
      <dgm:spPr/>
    </dgm:pt>
    <dgm:pt modelId="{E1C3BE1E-904B-40B5-94D1-35FAC3F76C66}" type="pres">
      <dgm:prSet presAssocID="{38051F64-2302-40C5-A7B3-D584DDC7FF23}" presName="negativeSpace" presStyleCnt="0"/>
      <dgm:spPr/>
    </dgm:pt>
    <dgm:pt modelId="{E2350E93-0155-4A4B-87EE-51927475AB53}" type="pres">
      <dgm:prSet presAssocID="{38051F64-2302-40C5-A7B3-D584DDC7FF23}" presName="childText" presStyleLbl="conFgAcc1" presStyleIdx="1" presStyleCnt="4">
        <dgm:presLayoutVars>
          <dgm:bulletEnabled val="1"/>
        </dgm:presLayoutVars>
      </dgm:prSet>
      <dgm:spPr/>
    </dgm:pt>
    <dgm:pt modelId="{925C3D06-3A0A-42E2-A2B9-7A3F3A86DAE7}" type="pres">
      <dgm:prSet presAssocID="{EAD3042E-92EF-4604-B464-0254D405E841}" presName="spaceBetweenRectangles" presStyleCnt="0"/>
      <dgm:spPr/>
    </dgm:pt>
    <dgm:pt modelId="{6EA55CB5-7731-494D-9979-996C46659E9C}" type="pres">
      <dgm:prSet presAssocID="{7B445DB7-F4C2-4854-806B-17C421C8FB3A}" presName="parentLin" presStyleCnt="0"/>
      <dgm:spPr/>
    </dgm:pt>
    <dgm:pt modelId="{340C8457-E9CA-4DB6-872F-E27F3C8148BE}" type="pres">
      <dgm:prSet presAssocID="{7B445DB7-F4C2-4854-806B-17C421C8FB3A}" presName="parentLeftMargin" presStyleLbl="node1" presStyleIdx="1" presStyleCnt="4"/>
      <dgm:spPr/>
    </dgm:pt>
    <dgm:pt modelId="{68E8543D-632B-404C-BF36-064CFDF7803D}" type="pres">
      <dgm:prSet presAssocID="{7B445DB7-F4C2-4854-806B-17C421C8FB3A}" presName="parentText" presStyleLbl="node1" presStyleIdx="2" presStyleCnt="4">
        <dgm:presLayoutVars>
          <dgm:chMax val="0"/>
          <dgm:bulletEnabled val="1"/>
        </dgm:presLayoutVars>
      </dgm:prSet>
      <dgm:spPr/>
    </dgm:pt>
    <dgm:pt modelId="{B6248FC2-B601-4121-8354-44A87EBC8819}" type="pres">
      <dgm:prSet presAssocID="{7B445DB7-F4C2-4854-806B-17C421C8FB3A}" presName="negativeSpace" presStyleCnt="0"/>
      <dgm:spPr/>
    </dgm:pt>
    <dgm:pt modelId="{E545C735-0EBB-4DC4-BCC6-596F74361DDB}" type="pres">
      <dgm:prSet presAssocID="{7B445DB7-F4C2-4854-806B-17C421C8FB3A}" presName="childText" presStyleLbl="conFgAcc1" presStyleIdx="2" presStyleCnt="4">
        <dgm:presLayoutVars>
          <dgm:bulletEnabled val="1"/>
        </dgm:presLayoutVars>
      </dgm:prSet>
      <dgm:spPr/>
    </dgm:pt>
    <dgm:pt modelId="{8B3AEFC4-A8B0-4983-B341-B42A158604DF}" type="pres">
      <dgm:prSet presAssocID="{B17C637C-13FE-4374-B0C6-309890B5535E}" presName="spaceBetweenRectangles" presStyleCnt="0"/>
      <dgm:spPr/>
    </dgm:pt>
    <dgm:pt modelId="{DD6748F8-F519-4495-B98A-1082D4CD5C49}" type="pres">
      <dgm:prSet presAssocID="{A1B484AB-8CDE-42B7-9EB7-173EC8BF8888}" presName="parentLin" presStyleCnt="0"/>
      <dgm:spPr/>
    </dgm:pt>
    <dgm:pt modelId="{4634390F-CB9F-4BE8-8339-B25666510119}" type="pres">
      <dgm:prSet presAssocID="{A1B484AB-8CDE-42B7-9EB7-173EC8BF8888}" presName="parentLeftMargin" presStyleLbl="node1" presStyleIdx="2" presStyleCnt="4"/>
      <dgm:spPr/>
    </dgm:pt>
    <dgm:pt modelId="{C5E8A469-7C12-4808-8C39-3C57572B2217}" type="pres">
      <dgm:prSet presAssocID="{A1B484AB-8CDE-42B7-9EB7-173EC8BF8888}" presName="parentText" presStyleLbl="node1" presStyleIdx="3" presStyleCnt="4">
        <dgm:presLayoutVars>
          <dgm:chMax val="0"/>
          <dgm:bulletEnabled val="1"/>
        </dgm:presLayoutVars>
      </dgm:prSet>
      <dgm:spPr/>
    </dgm:pt>
    <dgm:pt modelId="{8A6AC33F-F503-4806-879D-062079FE1E5C}" type="pres">
      <dgm:prSet presAssocID="{A1B484AB-8CDE-42B7-9EB7-173EC8BF8888}" presName="negativeSpace" presStyleCnt="0"/>
      <dgm:spPr/>
    </dgm:pt>
    <dgm:pt modelId="{47B31A48-BEAE-4D47-ABAE-BD62AD5FA3CB}" type="pres">
      <dgm:prSet presAssocID="{A1B484AB-8CDE-42B7-9EB7-173EC8BF8888}" presName="childText" presStyleLbl="conFgAcc1" presStyleIdx="3" presStyleCnt="4">
        <dgm:presLayoutVars>
          <dgm:bulletEnabled val="1"/>
        </dgm:presLayoutVars>
      </dgm:prSet>
      <dgm:spPr/>
    </dgm:pt>
  </dgm:ptLst>
  <dgm:cxnLst>
    <dgm:cxn modelId="{883B1902-3B98-41F5-9F0E-0951F3351DC7}" type="presOf" srcId="{979F9A38-6828-456D-8B55-9233029280D8}" destId="{27790CDD-8475-474C-B344-AC757E2B281F}" srcOrd="0" destOrd="0" presId="urn:microsoft.com/office/officeart/2005/8/layout/list1"/>
    <dgm:cxn modelId="{CF329F0D-0CCA-43B9-BB4E-BF73B0C82BC0}" type="presOf" srcId="{A1B484AB-8CDE-42B7-9EB7-173EC8BF8888}" destId="{C5E8A469-7C12-4808-8C39-3C57572B2217}" srcOrd="1" destOrd="0" presId="urn:microsoft.com/office/officeart/2005/8/layout/list1"/>
    <dgm:cxn modelId="{564C2A2B-46C4-4935-AFE6-6EB3236A2C17}" type="presOf" srcId="{A1B484AB-8CDE-42B7-9EB7-173EC8BF8888}" destId="{4634390F-CB9F-4BE8-8339-B25666510119}" srcOrd="0" destOrd="0" presId="urn:microsoft.com/office/officeart/2005/8/layout/list1"/>
    <dgm:cxn modelId="{14E5155B-C299-4B81-B8E6-B08A6351DBB3}" srcId="{3DEA3755-BF8A-46B8-8312-DA995666DF57}" destId="{11B662CA-17AD-4371-905F-F771AE4A472A}" srcOrd="0" destOrd="0" parTransId="{99DF89DF-A769-4624-AB12-8C989EAA25A7}" sibTransId="{C668F20F-EC8A-4E68-90EB-028DA234ACF5}"/>
    <dgm:cxn modelId="{2D42F348-ECF6-4B28-B4E1-B1D3697905AC}" srcId="{979F9A38-6828-456D-8B55-9233029280D8}" destId="{7B445DB7-F4C2-4854-806B-17C421C8FB3A}" srcOrd="2" destOrd="0" parTransId="{60CA6942-28F2-48B3-8A64-6CB202C1E125}" sibTransId="{B17C637C-13FE-4374-B0C6-309890B5535E}"/>
    <dgm:cxn modelId="{0043CF7C-EF64-49B8-A658-66DEC172A324}" type="presOf" srcId="{3DEA3755-BF8A-46B8-8312-DA995666DF57}" destId="{CE7F5DC2-DD96-4D69-9927-ED46AFA4C236}" srcOrd="0" destOrd="0" presId="urn:microsoft.com/office/officeart/2005/8/layout/list1"/>
    <dgm:cxn modelId="{88548A7F-5F01-4B1D-BE19-C375B1A040E6}" type="presOf" srcId="{7B445DB7-F4C2-4854-806B-17C421C8FB3A}" destId="{340C8457-E9CA-4DB6-872F-E27F3C8148BE}" srcOrd="0" destOrd="0" presId="urn:microsoft.com/office/officeart/2005/8/layout/list1"/>
    <dgm:cxn modelId="{69727D87-493D-4741-AB90-84F7A44EDD80}" type="presOf" srcId="{7B445DB7-F4C2-4854-806B-17C421C8FB3A}" destId="{68E8543D-632B-404C-BF36-064CFDF7803D}" srcOrd="1" destOrd="0" presId="urn:microsoft.com/office/officeart/2005/8/layout/list1"/>
    <dgm:cxn modelId="{84FD5888-B6E5-464D-AE63-9986DBA49F21}" type="presOf" srcId="{FBC6A494-8203-492F-9C6B-FE8F257DE93B}" destId="{E2350E93-0155-4A4B-87EE-51927475AB53}" srcOrd="0" destOrd="0" presId="urn:microsoft.com/office/officeart/2005/8/layout/list1"/>
    <dgm:cxn modelId="{FA7BB888-3913-4A37-9EE6-8E0D45D79E1F}" srcId="{7B445DB7-F4C2-4854-806B-17C421C8FB3A}" destId="{40C2300F-0D02-4507-B918-2BCA84E78979}" srcOrd="0" destOrd="0" parTransId="{EDF11B87-9149-47E7-9218-8002FFA7A104}" sibTransId="{C7EB0975-B17E-40B2-8795-0DF0E9C733D9}"/>
    <dgm:cxn modelId="{5F692CA4-93A4-4879-99A5-2D4A221F06BE}" type="presOf" srcId="{11B662CA-17AD-4371-905F-F771AE4A472A}" destId="{0FF6B88E-17D4-4817-BA32-DD36129E9A2F}" srcOrd="0" destOrd="0" presId="urn:microsoft.com/office/officeart/2005/8/layout/list1"/>
    <dgm:cxn modelId="{142ADBAB-1A65-4091-B123-B694CE3679E4}" type="presOf" srcId="{40C2300F-0D02-4507-B918-2BCA84E78979}" destId="{E545C735-0EBB-4DC4-BCC6-596F74361DDB}" srcOrd="0" destOrd="0" presId="urn:microsoft.com/office/officeart/2005/8/layout/list1"/>
    <dgm:cxn modelId="{9CFD0AB2-1211-421D-8B07-8C943024F3F7}" type="presOf" srcId="{3DEA3755-BF8A-46B8-8312-DA995666DF57}" destId="{162F16A4-30C2-469E-A1CD-C3EB5538D03C}" srcOrd="1" destOrd="0" presId="urn:microsoft.com/office/officeart/2005/8/layout/list1"/>
    <dgm:cxn modelId="{568263B4-B234-433D-A4D6-AECB270D27AC}" srcId="{38051F64-2302-40C5-A7B3-D584DDC7FF23}" destId="{FBC6A494-8203-492F-9C6B-FE8F257DE93B}" srcOrd="0" destOrd="0" parTransId="{56CD6923-1374-4AB5-B287-AA1ED4E21C89}" sibTransId="{2AC4D780-43E3-42B9-BFE8-BFC793E417F3}"/>
    <dgm:cxn modelId="{7E8195B6-9DEF-468A-8788-C6D746A351A8}" type="presOf" srcId="{E660F06E-0722-4881-ABBF-87D99D50179D}" destId="{47B31A48-BEAE-4D47-ABAE-BD62AD5FA3CB}" srcOrd="0" destOrd="0" presId="urn:microsoft.com/office/officeart/2005/8/layout/list1"/>
    <dgm:cxn modelId="{8A98F8B6-CF29-4A3A-BCAE-F1D87BA178C1}" type="presOf" srcId="{38051F64-2302-40C5-A7B3-D584DDC7FF23}" destId="{698F19BE-48AE-47F0-BD36-FE30BF4612BD}" srcOrd="0" destOrd="0" presId="urn:microsoft.com/office/officeart/2005/8/layout/list1"/>
    <dgm:cxn modelId="{1BD1BBC0-D1BF-448E-B47C-9ACAA4E69E72}" srcId="{979F9A38-6828-456D-8B55-9233029280D8}" destId="{A1B484AB-8CDE-42B7-9EB7-173EC8BF8888}" srcOrd="3" destOrd="0" parTransId="{C0FFB386-A27C-4362-AD5F-4FA9F80BC011}" sibTransId="{69EE5D25-004A-4DF6-A046-6B659C73F6ED}"/>
    <dgm:cxn modelId="{FD6E79DB-986A-47B6-94B9-DC1A3B4E851D}" srcId="{979F9A38-6828-456D-8B55-9233029280D8}" destId="{38051F64-2302-40C5-A7B3-D584DDC7FF23}" srcOrd="1" destOrd="0" parTransId="{F108C553-8324-4FE9-9B80-B7A736B97AD1}" sibTransId="{EAD3042E-92EF-4604-B464-0254D405E841}"/>
    <dgm:cxn modelId="{19BF85E7-434A-4D08-8386-7A7D5D0ECB84}" srcId="{979F9A38-6828-456D-8B55-9233029280D8}" destId="{3DEA3755-BF8A-46B8-8312-DA995666DF57}" srcOrd="0" destOrd="0" parTransId="{7EEC1C46-7B4D-47EA-963E-0B7083AD6D13}" sibTransId="{323201D1-84E1-40D5-813D-FFE0D8363A62}"/>
    <dgm:cxn modelId="{EB0C11ED-71B4-44A3-BDED-DFA959337D6B}" type="presOf" srcId="{38051F64-2302-40C5-A7B3-D584DDC7FF23}" destId="{DC56AE89-D4E9-44A7-8C50-81AFBB6A827C}" srcOrd="1" destOrd="0" presId="urn:microsoft.com/office/officeart/2005/8/layout/list1"/>
    <dgm:cxn modelId="{3B62A9F5-6913-4300-86FC-0400E0E97654}" srcId="{A1B484AB-8CDE-42B7-9EB7-173EC8BF8888}" destId="{E660F06E-0722-4881-ABBF-87D99D50179D}" srcOrd="0" destOrd="0" parTransId="{BDED5F9C-28B1-4F2C-AD64-68D063313EB5}" sibTransId="{75689AC8-490B-494D-8C3C-D5347732AD77}"/>
    <dgm:cxn modelId="{DA030FA3-2DA1-49DC-A5A3-DFA62BB28894}" type="presParOf" srcId="{27790CDD-8475-474C-B344-AC757E2B281F}" destId="{0B2BD7DE-2B53-43EC-91C8-465DE4B161D9}" srcOrd="0" destOrd="0" presId="urn:microsoft.com/office/officeart/2005/8/layout/list1"/>
    <dgm:cxn modelId="{9F910DEF-5CF1-4B2C-A9A6-A2B8EB9E65F9}" type="presParOf" srcId="{0B2BD7DE-2B53-43EC-91C8-465DE4B161D9}" destId="{CE7F5DC2-DD96-4D69-9927-ED46AFA4C236}" srcOrd="0" destOrd="0" presId="urn:microsoft.com/office/officeart/2005/8/layout/list1"/>
    <dgm:cxn modelId="{60C78E5F-28C5-4227-9754-892503707D87}" type="presParOf" srcId="{0B2BD7DE-2B53-43EC-91C8-465DE4B161D9}" destId="{162F16A4-30C2-469E-A1CD-C3EB5538D03C}" srcOrd="1" destOrd="0" presId="urn:microsoft.com/office/officeart/2005/8/layout/list1"/>
    <dgm:cxn modelId="{EB22A046-D444-410B-BF1C-07F0236AF8C3}" type="presParOf" srcId="{27790CDD-8475-474C-B344-AC757E2B281F}" destId="{00E2A02A-35AF-4137-9DD0-A721BFE291A5}" srcOrd="1" destOrd="0" presId="urn:microsoft.com/office/officeart/2005/8/layout/list1"/>
    <dgm:cxn modelId="{A6D470DD-C73A-4C6B-A3C7-D0F5B7320BD0}" type="presParOf" srcId="{27790CDD-8475-474C-B344-AC757E2B281F}" destId="{0FF6B88E-17D4-4817-BA32-DD36129E9A2F}" srcOrd="2" destOrd="0" presId="urn:microsoft.com/office/officeart/2005/8/layout/list1"/>
    <dgm:cxn modelId="{745900C9-A494-4355-BAD2-BDE5D18D7D5F}" type="presParOf" srcId="{27790CDD-8475-474C-B344-AC757E2B281F}" destId="{0DCADD07-6235-45BC-93A6-C8697CBB0692}" srcOrd="3" destOrd="0" presId="urn:microsoft.com/office/officeart/2005/8/layout/list1"/>
    <dgm:cxn modelId="{3DB37F01-C3BB-4B84-A9D9-D9E6DEFDCDC1}" type="presParOf" srcId="{27790CDD-8475-474C-B344-AC757E2B281F}" destId="{8525D01B-19BB-442A-8BB5-7D4F910349F2}" srcOrd="4" destOrd="0" presId="urn:microsoft.com/office/officeart/2005/8/layout/list1"/>
    <dgm:cxn modelId="{A081ADFD-8871-4209-B410-CF666E541293}" type="presParOf" srcId="{8525D01B-19BB-442A-8BB5-7D4F910349F2}" destId="{698F19BE-48AE-47F0-BD36-FE30BF4612BD}" srcOrd="0" destOrd="0" presId="urn:microsoft.com/office/officeart/2005/8/layout/list1"/>
    <dgm:cxn modelId="{6ED01040-7CCC-4588-A9F7-CCEFFF9FE97E}" type="presParOf" srcId="{8525D01B-19BB-442A-8BB5-7D4F910349F2}" destId="{DC56AE89-D4E9-44A7-8C50-81AFBB6A827C}" srcOrd="1" destOrd="0" presId="urn:microsoft.com/office/officeart/2005/8/layout/list1"/>
    <dgm:cxn modelId="{CC1E2378-D917-41F4-88FB-86E03C4E6C9D}" type="presParOf" srcId="{27790CDD-8475-474C-B344-AC757E2B281F}" destId="{E1C3BE1E-904B-40B5-94D1-35FAC3F76C66}" srcOrd="5" destOrd="0" presId="urn:microsoft.com/office/officeart/2005/8/layout/list1"/>
    <dgm:cxn modelId="{FD1D5409-BF5C-4C95-85D4-AB10A88BDCF5}" type="presParOf" srcId="{27790CDD-8475-474C-B344-AC757E2B281F}" destId="{E2350E93-0155-4A4B-87EE-51927475AB53}" srcOrd="6" destOrd="0" presId="urn:microsoft.com/office/officeart/2005/8/layout/list1"/>
    <dgm:cxn modelId="{F0495279-0651-4E6B-84CA-A867F55F3F73}" type="presParOf" srcId="{27790CDD-8475-474C-B344-AC757E2B281F}" destId="{925C3D06-3A0A-42E2-A2B9-7A3F3A86DAE7}" srcOrd="7" destOrd="0" presId="urn:microsoft.com/office/officeart/2005/8/layout/list1"/>
    <dgm:cxn modelId="{9645200F-9039-484E-9A61-A34762DF6D15}" type="presParOf" srcId="{27790CDD-8475-474C-B344-AC757E2B281F}" destId="{6EA55CB5-7731-494D-9979-996C46659E9C}" srcOrd="8" destOrd="0" presId="urn:microsoft.com/office/officeart/2005/8/layout/list1"/>
    <dgm:cxn modelId="{EBF93967-4AED-4F10-8FEC-D8A92F44295F}" type="presParOf" srcId="{6EA55CB5-7731-494D-9979-996C46659E9C}" destId="{340C8457-E9CA-4DB6-872F-E27F3C8148BE}" srcOrd="0" destOrd="0" presId="urn:microsoft.com/office/officeart/2005/8/layout/list1"/>
    <dgm:cxn modelId="{FB81AFF7-0199-4A49-8F5C-6118F6977237}" type="presParOf" srcId="{6EA55CB5-7731-494D-9979-996C46659E9C}" destId="{68E8543D-632B-404C-BF36-064CFDF7803D}" srcOrd="1" destOrd="0" presId="urn:microsoft.com/office/officeart/2005/8/layout/list1"/>
    <dgm:cxn modelId="{E971F0F4-D349-493D-A6F7-A8344DE7352D}" type="presParOf" srcId="{27790CDD-8475-474C-B344-AC757E2B281F}" destId="{B6248FC2-B601-4121-8354-44A87EBC8819}" srcOrd="9" destOrd="0" presId="urn:microsoft.com/office/officeart/2005/8/layout/list1"/>
    <dgm:cxn modelId="{6574FD90-C5E8-480F-99E7-264BAF452CB3}" type="presParOf" srcId="{27790CDD-8475-474C-B344-AC757E2B281F}" destId="{E545C735-0EBB-4DC4-BCC6-596F74361DDB}" srcOrd="10" destOrd="0" presId="urn:microsoft.com/office/officeart/2005/8/layout/list1"/>
    <dgm:cxn modelId="{D9ED5031-3C4F-4E6E-900A-A2A834B911E4}" type="presParOf" srcId="{27790CDD-8475-474C-B344-AC757E2B281F}" destId="{8B3AEFC4-A8B0-4983-B341-B42A158604DF}" srcOrd="11" destOrd="0" presId="urn:microsoft.com/office/officeart/2005/8/layout/list1"/>
    <dgm:cxn modelId="{7BFFEB97-0F51-4D32-ACB9-C4644161E3C4}" type="presParOf" srcId="{27790CDD-8475-474C-B344-AC757E2B281F}" destId="{DD6748F8-F519-4495-B98A-1082D4CD5C49}" srcOrd="12" destOrd="0" presId="urn:microsoft.com/office/officeart/2005/8/layout/list1"/>
    <dgm:cxn modelId="{4F70F848-34CC-4950-9019-86F8F573FDA5}" type="presParOf" srcId="{DD6748F8-F519-4495-B98A-1082D4CD5C49}" destId="{4634390F-CB9F-4BE8-8339-B25666510119}" srcOrd="0" destOrd="0" presId="urn:microsoft.com/office/officeart/2005/8/layout/list1"/>
    <dgm:cxn modelId="{85D8B967-50A7-4133-ABB1-7FA06B65F7B1}" type="presParOf" srcId="{DD6748F8-F519-4495-B98A-1082D4CD5C49}" destId="{C5E8A469-7C12-4808-8C39-3C57572B2217}" srcOrd="1" destOrd="0" presId="urn:microsoft.com/office/officeart/2005/8/layout/list1"/>
    <dgm:cxn modelId="{5776D1C8-E2F8-4DCF-A1B4-3B05EB2DEEFD}" type="presParOf" srcId="{27790CDD-8475-474C-B344-AC757E2B281F}" destId="{8A6AC33F-F503-4806-879D-062079FE1E5C}" srcOrd="13" destOrd="0" presId="urn:microsoft.com/office/officeart/2005/8/layout/list1"/>
    <dgm:cxn modelId="{7BD9258F-0BB4-41B9-8605-119312ED672B}" type="presParOf" srcId="{27790CDD-8475-474C-B344-AC757E2B281F}" destId="{47B31A48-BEAE-4D47-ABAE-BD62AD5FA3CB}"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9F9A38-6828-456D-8B55-9233029280D8}" type="doc">
      <dgm:prSet loTypeId="urn:microsoft.com/office/officeart/2005/8/layout/list1" loCatId="list" qsTypeId="urn:microsoft.com/office/officeart/2005/8/quickstyle/3d2" qsCatId="3D" csTypeId="urn:microsoft.com/office/officeart/2005/8/colors/accent1_2" csCatId="accent1" phldr="1"/>
      <dgm:spPr/>
      <dgm:t>
        <a:bodyPr/>
        <a:lstStyle/>
        <a:p>
          <a:endParaRPr lang="en-IN"/>
        </a:p>
      </dgm:t>
    </dgm:pt>
    <dgm:pt modelId="{3B4AD5C5-3134-4F5C-A924-E4C4044FFF37}">
      <dgm:prSet custT="1"/>
      <dgm:spPr/>
      <dgm:t>
        <a:bodyPr/>
        <a:lstStyle/>
        <a:p>
          <a:pPr>
            <a:buFont typeface="Arial" panose="020B0604020202020204" pitchFamily="34" charset="0"/>
            <a:buChar char="•"/>
          </a:pPr>
          <a:r>
            <a:rPr lang="en-IN" sz="1600" b="0" i="0" dirty="0">
              <a:latin typeface="Arial" panose="020B0604020202020204" pitchFamily="34" charset="0"/>
              <a:cs typeface="Arial" panose="020B0604020202020204" pitchFamily="34" charset="0"/>
            </a:rPr>
            <a:t>Message</a:t>
          </a:r>
        </a:p>
      </dgm:t>
    </dgm:pt>
    <dgm:pt modelId="{338F181C-0C7B-4E4A-A0E4-D6A44BC90779}" type="parTrans" cxnId="{74EC3142-6E20-439E-8553-5D344FED9E90}">
      <dgm:prSet/>
      <dgm:spPr/>
      <dgm:t>
        <a:bodyPr/>
        <a:lstStyle/>
        <a:p>
          <a:endParaRPr lang="en-IN" sz="1600">
            <a:latin typeface="Arial" panose="020B0604020202020204" pitchFamily="34" charset="0"/>
            <a:cs typeface="Arial" panose="020B0604020202020204" pitchFamily="34" charset="0"/>
          </a:endParaRPr>
        </a:p>
      </dgm:t>
    </dgm:pt>
    <dgm:pt modelId="{D1F411A6-01D5-4DBF-BEE2-A99320833EA7}" type="sibTrans" cxnId="{74EC3142-6E20-439E-8553-5D344FED9E90}">
      <dgm:prSet/>
      <dgm:spPr/>
      <dgm:t>
        <a:bodyPr/>
        <a:lstStyle/>
        <a:p>
          <a:endParaRPr lang="en-IN" sz="1600">
            <a:latin typeface="Arial" panose="020B0604020202020204" pitchFamily="34" charset="0"/>
            <a:cs typeface="Arial" panose="020B0604020202020204" pitchFamily="34" charset="0"/>
          </a:endParaRPr>
        </a:p>
      </dgm:t>
    </dgm:pt>
    <dgm:pt modelId="{5BC36D1A-E7FA-487A-B686-99F3B061F54E}">
      <dgm:prSet custT="1"/>
      <dgm:spPr/>
      <dgm:t>
        <a:bodyPr/>
        <a:lstStyle/>
        <a:p>
          <a:pPr>
            <a:buFont typeface="Arial" panose="020B0604020202020204" pitchFamily="34" charset="0"/>
            <a:buChar char="•"/>
          </a:pPr>
          <a:r>
            <a:rPr lang="en-IN" sz="1600" b="0" i="0" dirty="0">
              <a:latin typeface="Arial" panose="020B0604020202020204" pitchFamily="34" charset="0"/>
              <a:cs typeface="Arial" panose="020B0604020202020204" pitchFamily="34" charset="0"/>
            </a:rPr>
            <a:t>Artifact</a:t>
          </a:r>
        </a:p>
      </dgm:t>
    </dgm:pt>
    <dgm:pt modelId="{A6F88073-560A-4142-906A-BE60133CF8F7}" type="parTrans" cxnId="{1B8D1D66-03A9-4692-85B5-9AA9552F4824}">
      <dgm:prSet/>
      <dgm:spPr/>
      <dgm:t>
        <a:bodyPr/>
        <a:lstStyle/>
        <a:p>
          <a:endParaRPr lang="en-IN" sz="1600">
            <a:latin typeface="Arial" panose="020B0604020202020204" pitchFamily="34" charset="0"/>
            <a:cs typeface="Arial" panose="020B0604020202020204" pitchFamily="34" charset="0"/>
          </a:endParaRPr>
        </a:p>
      </dgm:t>
    </dgm:pt>
    <dgm:pt modelId="{368B8B15-BB28-4B35-8D8F-0509E5CF55CF}" type="sibTrans" cxnId="{1B8D1D66-03A9-4692-85B5-9AA9552F4824}">
      <dgm:prSet/>
      <dgm:spPr/>
      <dgm:t>
        <a:bodyPr/>
        <a:lstStyle/>
        <a:p>
          <a:endParaRPr lang="en-IN" sz="1600">
            <a:latin typeface="Arial" panose="020B0604020202020204" pitchFamily="34" charset="0"/>
            <a:cs typeface="Arial" panose="020B0604020202020204" pitchFamily="34" charset="0"/>
          </a:endParaRPr>
        </a:p>
      </dgm:t>
    </dgm:pt>
    <dgm:pt modelId="{700C7FDE-7C52-43AF-A912-54EAAC560290}">
      <dgm:prSet custT="1"/>
      <dgm:spPr/>
      <dgm:t>
        <a:bodyPr/>
        <a:lstStyle/>
        <a:p>
          <a:pPr>
            <a:buFont typeface="Arial" panose="020B0604020202020204" pitchFamily="34" charset="0"/>
            <a:buChar char="•"/>
          </a:pPr>
          <a:r>
            <a:rPr lang="en-IN" sz="1600" b="0" i="0" dirty="0">
              <a:latin typeface="Arial" panose="020B0604020202020204" pitchFamily="34" charset="0"/>
              <a:cs typeface="Arial" panose="020B0604020202020204" pitchFamily="34" charset="0"/>
            </a:rPr>
            <a:t>Part</a:t>
          </a:r>
        </a:p>
      </dgm:t>
    </dgm:pt>
    <dgm:pt modelId="{7084C206-3097-4C95-AC00-583DE7B0FFD2}" type="parTrans" cxnId="{27221E02-2CF1-4314-BD18-7114235688AF}">
      <dgm:prSet/>
      <dgm:spPr/>
      <dgm:t>
        <a:bodyPr/>
        <a:lstStyle/>
        <a:p>
          <a:endParaRPr lang="en-IN" sz="1600">
            <a:latin typeface="Arial" panose="020B0604020202020204" pitchFamily="34" charset="0"/>
            <a:cs typeface="Arial" panose="020B0604020202020204" pitchFamily="34" charset="0"/>
          </a:endParaRPr>
        </a:p>
      </dgm:t>
    </dgm:pt>
    <dgm:pt modelId="{159D71C1-4030-4B12-937F-367102B2E3CE}" type="sibTrans" cxnId="{27221E02-2CF1-4314-BD18-7114235688AF}">
      <dgm:prSet/>
      <dgm:spPr/>
      <dgm:t>
        <a:bodyPr/>
        <a:lstStyle/>
        <a:p>
          <a:endParaRPr lang="en-IN" sz="1600">
            <a:latin typeface="Arial" panose="020B0604020202020204" pitchFamily="34" charset="0"/>
            <a:cs typeface="Arial" panose="020B0604020202020204" pitchFamily="34" charset="0"/>
          </a:endParaRPr>
        </a:p>
      </dgm:t>
    </dgm:pt>
    <dgm:pt modelId="{E4A2905A-B194-4EBA-BC1B-DC0AF461ECCE}">
      <dgm:prSet custT="1"/>
      <dgm:spPr/>
      <dgm:t>
        <a:bodyPr/>
        <a:lstStyle/>
        <a:p>
          <a:pPr>
            <a:buNone/>
          </a:pPr>
          <a:r>
            <a:rPr lang="en-IN" sz="1600" b="0" i="0" dirty="0">
              <a:latin typeface="Arial" panose="020B0604020202020204" pitchFamily="34" charset="0"/>
              <a:cs typeface="Arial" panose="020B0604020202020204" pitchFamily="34" charset="0"/>
            </a:rPr>
            <a:t>As a fundamental unit of communication, a message depicts a single exchange or turn in a conversation. It contains one or more parts holding the actual content.</a:t>
          </a:r>
          <a:endParaRPr lang="en-IN" sz="1600" dirty="0">
            <a:latin typeface="Arial" panose="020B0604020202020204" pitchFamily="34" charset="0"/>
            <a:cs typeface="Arial" panose="020B0604020202020204" pitchFamily="34" charset="0"/>
          </a:endParaRPr>
        </a:p>
      </dgm:t>
    </dgm:pt>
    <dgm:pt modelId="{843BC487-91B0-4F86-A0F0-646FBE3332F9}" type="parTrans" cxnId="{B6774D11-89DB-4251-8A36-3A6BE35B211B}">
      <dgm:prSet/>
      <dgm:spPr/>
      <dgm:t>
        <a:bodyPr/>
        <a:lstStyle/>
        <a:p>
          <a:endParaRPr lang="en-IN" sz="1600">
            <a:latin typeface="Arial" panose="020B0604020202020204" pitchFamily="34" charset="0"/>
            <a:cs typeface="Arial" panose="020B0604020202020204" pitchFamily="34" charset="0"/>
          </a:endParaRPr>
        </a:p>
      </dgm:t>
    </dgm:pt>
    <dgm:pt modelId="{98DEF15A-142B-4466-9D61-B27F62E5077D}" type="sibTrans" cxnId="{B6774D11-89DB-4251-8A36-3A6BE35B211B}">
      <dgm:prSet/>
      <dgm:spPr/>
      <dgm:t>
        <a:bodyPr/>
        <a:lstStyle/>
        <a:p>
          <a:endParaRPr lang="en-IN" sz="1600">
            <a:latin typeface="Arial" panose="020B0604020202020204" pitchFamily="34" charset="0"/>
            <a:cs typeface="Arial" panose="020B0604020202020204" pitchFamily="34" charset="0"/>
          </a:endParaRPr>
        </a:p>
      </dgm:t>
    </dgm:pt>
    <dgm:pt modelId="{6F76498E-EF05-4806-9F82-0A165D912CAA}">
      <dgm:prSet custT="1"/>
      <dgm:spPr/>
      <dgm:t>
        <a:bodyPr/>
        <a:lstStyle/>
        <a:p>
          <a:pPr>
            <a:buNone/>
          </a:pPr>
          <a:r>
            <a:rPr lang="en-IN" sz="1600" b="0" i="0" dirty="0">
              <a:latin typeface="Arial" panose="020B0604020202020204" pitchFamily="34" charset="0"/>
              <a:cs typeface="Arial" panose="020B0604020202020204" pitchFamily="34" charset="0"/>
            </a:rPr>
            <a:t>Messages relay answers, context, instructions, prompts, questions, replies and status updates.</a:t>
          </a:r>
        </a:p>
      </dgm:t>
    </dgm:pt>
    <dgm:pt modelId="{0EB93FA1-65D6-408C-A407-8A25160CF007}" type="parTrans" cxnId="{03A9AE6F-0073-461B-A6BF-371DA47AE306}">
      <dgm:prSet/>
      <dgm:spPr/>
      <dgm:t>
        <a:bodyPr/>
        <a:lstStyle/>
        <a:p>
          <a:endParaRPr lang="en-IN" sz="1600">
            <a:latin typeface="Arial" panose="020B0604020202020204" pitchFamily="34" charset="0"/>
            <a:cs typeface="Arial" panose="020B0604020202020204" pitchFamily="34" charset="0"/>
          </a:endParaRPr>
        </a:p>
      </dgm:t>
    </dgm:pt>
    <dgm:pt modelId="{2308D3D2-897D-4D9D-A136-F8635DA209DA}" type="sibTrans" cxnId="{03A9AE6F-0073-461B-A6BF-371DA47AE306}">
      <dgm:prSet/>
      <dgm:spPr/>
      <dgm:t>
        <a:bodyPr/>
        <a:lstStyle/>
        <a:p>
          <a:endParaRPr lang="en-IN" sz="1600">
            <a:latin typeface="Arial" panose="020B0604020202020204" pitchFamily="34" charset="0"/>
            <a:cs typeface="Arial" panose="020B0604020202020204" pitchFamily="34" charset="0"/>
          </a:endParaRPr>
        </a:p>
      </dgm:t>
    </dgm:pt>
    <dgm:pt modelId="{ADF980F6-3597-465B-9ED2-27FFC59458C3}">
      <dgm:prSet custT="1"/>
      <dgm:spPr/>
      <dgm:t>
        <a:bodyPr/>
        <a:lstStyle/>
        <a:p>
          <a:pPr>
            <a:buNone/>
          </a:pPr>
          <a:r>
            <a:rPr lang="en-IN" sz="1600" b="0" i="0">
              <a:latin typeface="Arial" panose="020B0604020202020204" pitchFamily="34" charset="0"/>
              <a:cs typeface="Arial" panose="020B0604020202020204" pitchFamily="34" charset="0"/>
            </a:rPr>
            <a:t>An artifact is a tangible product generated by the A2A server as a result of its work. It can be a document, image, spreadsheet or any other deliverable. Like messages, artifacts consist of one or more parts and can be incrementally streamed.</a:t>
          </a:r>
          <a:endParaRPr lang="en-IN" sz="1600">
            <a:latin typeface="Arial" panose="020B0604020202020204" pitchFamily="34" charset="0"/>
            <a:cs typeface="Arial" panose="020B0604020202020204" pitchFamily="34" charset="0"/>
          </a:endParaRPr>
        </a:p>
      </dgm:t>
    </dgm:pt>
    <dgm:pt modelId="{CB2549CA-739D-46D9-8B90-D57D33A563F6}" type="parTrans" cxnId="{8B683EF0-2F64-46D1-BB64-D05A08123347}">
      <dgm:prSet/>
      <dgm:spPr/>
      <dgm:t>
        <a:bodyPr/>
        <a:lstStyle/>
        <a:p>
          <a:endParaRPr lang="en-IN" sz="1600">
            <a:latin typeface="Arial" panose="020B0604020202020204" pitchFamily="34" charset="0"/>
            <a:cs typeface="Arial" panose="020B0604020202020204" pitchFamily="34" charset="0"/>
          </a:endParaRPr>
        </a:p>
      </dgm:t>
    </dgm:pt>
    <dgm:pt modelId="{551CC447-B940-48D5-B5C8-001FB48A3026}" type="sibTrans" cxnId="{8B683EF0-2F64-46D1-BB64-D05A08123347}">
      <dgm:prSet/>
      <dgm:spPr/>
      <dgm:t>
        <a:bodyPr/>
        <a:lstStyle/>
        <a:p>
          <a:endParaRPr lang="en-IN" sz="1600">
            <a:latin typeface="Arial" panose="020B0604020202020204" pitchFamily="34" charset="0"/>
            <a:cs typeface="Arial" panose="020B0604020202020204" pitchFamily="34" charset="0"/>
          </a:endParaRPr>
        </a:p>
      </dgm:t>
    </dgm:pt>
    <dgm:pt modelId="{CE74DE8E-CEBC-4141-B3F1-D6F8F1A31D63}">
      <dgm:prSet custT="1"/>
      <dgm:spPr/>
      <dgm:t>
        <a:bodyPr/>
        <a:lstStyle/>
        <a:p>
          <a:pPr>
            <a:buNone/>
          </a:pPr>
          <a:r>
            <a:rPr lang="en-IN" sz="1600" b="0" i="0">
              <a:latin typeface="Arial" panose="020B0604020202020204" pitchFamily="34" charset="0"/>
              <a:cs typeface="Arial" panose="020B0604020202020204" pitchFamily="34" charset="0"/>
            </a:rPr>
            <a:t>A part is a piece of content inside a message or an artifact. Parts have various types based on the data they carry. A TextPart is a vessel for text, a FilePart represents files and a DataPart encompasses structured JSON (JavaScript Object Notation) data.</a:t>
          </a:r>
          <a:endParaRPr lang="en-IN" sz="1600">
            <a:latin typeface="Arial" panose="020B0604020202020204" pitchFamily="34" charset="0"/>
            <a:cs typeface="Arial" panose="020B0604020202020204" pitchFamily="34" charset="0"/>
          </a:endParaRPr>
        </a:p>
      </dgm:t>
    </dgm:pt>
    <dgm:pt modelId="{39B0077D-42C0-453A-A243-B0724857AE39}" type="parTrans" cxnId="{AF1AD8BF-AFB8-42C6-848D-D5B4AAF9629C}">
      <dgm:prSet/>
      <dgm:spPr/>
      <dgm:t>
        <a:bodyPr/>
        <a:lstStyle/>
        <a:p>
          <a:endParaRPr lang="en-IN" sz="1600">
            <a:latin typeface="Arial" panose="020B0604020202020204" pitchFamily="34" charset="0"/>
            <a:cs typeface="Arial" panose="020B0604020202020204" pitchFamily="34" charset="0"/>
          </a:endParaRPr>
        </a:p>
      </dgm:t>
    </dgm:pt>
    <dgm:pt modelId="{BF54753F-5B15-4AC9-93CD-A6AB31576BF6}" type="sibTrans" cxnId="{AF1AD8BF-AFB8-42C6-848D-D5B4AAF9629C}">
      <dgm:prSet/>
      <dgm:spPr/>
      <dgm:t>
        <a:bodyPr/>
        <a:lstStyle/>
        <a:p>
          <a:endParaRPr lang="en-IN" sz="1600">
            <a:latin typeface="Arial" panose="020B0604020202020204" pitchFamily="34" charset="0"/>
            <a:cs typeface="Arial" panose="020B0604020202020204" pitchFamily="34" charset="0"/>
          </a:endParaRPr>
        </a:p>
      </dgm:t>
    </dgm:pt>
    <dgm:pt modelId="{27790CDD-8475-474C-B344-AC757E2B281F}" type="pres">
      <dgm:prSet presAssocID="{979F9A38-6828-456D-8B55-9233029280D8}" presName="linear" presStyleCnt="0">
        <dgm:presLayoutVars>
          <dgm:dir/>
          <dgm:animLvl val="lvl"/>
          <dgm:resizeHandles val="exact"/>
        </dgm:presLayoutVars>
      </dgm:prSet>
      <dgm:spPr/>
    </dgm:pt>
    <dgm:pt modelId="{90045D8A-43E1-424C-B990-E2029D310C1A}" type="pres">
      <dgm:prSet presAssocID="{3B4AD5C5-3134-4F5C-A924-E4C4044FFF37}" presName="parentLin" presStyleCnt="0"/>
      <dgm:spPr/>
    </dgm:pt>
    <dgm:pt modelId="{11C02CA2-11CB-4CEC-B137-48947011A9E0}" type="pres">
      <dgm:prSet presAssocID="{3B4AD5C5-3134-4F5C-A924-E4C4044FFF37}" presName="parentLeftMargin" presStyleLbl="node1" presStyleIdx="0" presStyleCnt="3"/>
      <dgm:spPr/>
    </dgm:pt>
    <dgm:pt modelId="{47CBBC90-A66E-46B6-ACE2-80CC745B3171}" type="pres">
      <dgm:prSet presAssocID="{3B4AD5C5-3134-4F5C-A924-E4C4044FFF37}" presName="parentText" presStyleLbl="node1" presStyleIdx="0" presStyleCnt="3">
        <dgm:presLayoutVars>
          <dgm:chMax val="0"/>
          <dgm:bulletEnabled val="1"/>
        </dgm:presLayoutVars>
      </dgm:prSet>
      <dgm:spPr/>
    </dgm:pt>
    <dgm:pt modelId="{06F85241-CF22-4E78-83CC-AFFFB37ADEC8}" type="pres">
      <dgm:prSet presAssocID="{3B4AD5C5-3134-4F5C-A924-E4C4044FFF37}" presName="negativeSpace" presStyleCnt="0"/>
      <dgm:spPr/>
    </dgm:pt>
    <dgm:pt modelId="{DAA9A171-9642-4C41-B0C5-04148BBA5E3A}" type="pres">
      <dgm:prSet presAssocID="{3B4AD5C5-3134-4F5C-A924-E4C4044FFF37}" presName="childText" presStyleLbl="conFgAcc1" presStyleIdx="0" presStyleCnt="3">
        <dgm:presLayoutVars>
          <dgm:bulletEnabled val="1"/>
        </dgm:presLayoutVars>
      </dgm:prSet>
      <dgm:spPr/>
    </dgm:pt>
    <dgm:pt modelId="{AB6248FD-B904-4AD3-945A-3248D52B8B2D}" type="pres">
      <dgm:prSet presAssocID="{D1F411A6-01D5-4DBF-BEE2-A99320833EA7}" presName="spaceBetweenRectangles" presStyleCnt="0"/>
      <dgm:spPr/>
    </dgm:pt>
    <dgm:pt modelId="{1F8B5817-68D4-43F5-9902-4CC3F4F46AA9}" type="pres">
      <dgm:prSet presAssocID="{5BC36D1A-E7FA-487A-B686-99F3B061F54E}" presName="parentLin" presStyleCnt="0"/>
      <dgm:spPr/>
    </dgm:pt>
    <dgm:pt modelId="{A6147AA7-7DB0-46B5-971E-7970BE31AB25}" type="pres">
      <dgm:prSet presAssocID="{5BC36D1A-E7FA-487A-B686-99F3B061F54E}" presName="parentLeftMargin" presStyleLbl="node1" presStyleIdx="0" presStyleCnt="3"/>
      <dgm:spPr/>
    </dgm:pt>
    <dgm:pt modelId="{078902AF-4506-4964-93F3-C13E507CB381}" type="pres">
      <dgm:prSet presAssocID="{5BC36D1A-E7FA-487A-B686-99F3B061F54E}" presName="parentText" presStyleLbl="node1" presStyleIdx="1" presStyleCnt="3">
        <dgm:presLayoutVars>
          <dgm:chMax val="0"/>
          <dgm:bulletEnabled val="1"/>
        </dgm:presLayoutVars>
      </dgm:prSet>
      <dgm:spPr/>
    </dgm:pt>
    <dgm:pt modelId="{E8558DB2-46E3-4114-A814-E13BF91B4115}" type="pres">
      <dgm:prSet presAssocID="{5BC36D1A-E7FA-487A-B686-99F3B061F54E}" presName="negativeSpace" presStyleCnt="0"/>
      <dgm:spPr/>
    </dgm:pt>
    <dgm:pt modelId="{0983EC31-0B3D-4831-B338-C5BB6AC9A886}" type="pres">
      <dgm:prSet presAssocID="{5BC36D1A-E7FA-487A-B686-99F3B061F54E}" presName="childText" presStyleLbl="conFgAcc1" presStyleIdx="1" presStyleCnt="3">
        <dgm:presLayoutVars>
          <dgm:bulletEnabled val="1"/>
        </dgm:presLayoutVars>
      </dgm:prSet>
      <dgm:spPr/>
    </dgm:pt>
    <dgm:pt modelId="{4CB67C01-E5FC-4B01-86E3-73AD2DA8E09D}" type="pres">
      <dgm:prSet presAssocID="{368B8B15-BB28-4B35-8D8F-0509E5CF55CF}" presName="spaceBetweenRectangles" presStyleCnt="0"/>
      <dgm:spPr/>
    </dgm:pt>
    <dgm:pt modelId="{91D95BCC-8FD0-4328-AA95-36A5492FD39B}" type="pres">
      <dgm:prSet presAssocID="{700C7FDE-7C52-43AF-A912-54EAAC560290}" presName="parentLin" presStyleCnt="0"/>
      <dgm:spPr/>
    </dgm:pt>
    <dgm:pt modelId="{3C2EF5C4-816D-4AC2-9A47-E1B67B261E2D}" type="pres">
      <dgm:prSet presAssocID="{700C7FDE-7C52-43AF-A912-54EAAC560290}" presName="parentLeftMargin" presStyleLbl="node1" presStyleIdx="1" presStyleCnt="3"/>
      <dgm:spPr/>
    </dgm:pt>
    <dgm:pt modelId="{991CAE23-7658-4C98-9231-A3FD52752DD9}" type="pres">
      <dgm:prSet presAssocID="{700C7FDE-7C52-43AF-A912-54EAAC560290}" presName="parentText" presStyleLbl="node1" presStyleIdx="2" presStyleCnt="3">
        <dgm:presLayoutVars>
          <dgm:chMax val="0"/>
          <dgm:bulletEnabled val="1"/>
        </dgm:presLayoutVars>
      </dgm:prSet>
      <dgm:spPr/>
    </dgm:pt>
    <dgm:pt modelId="{02D5BFB6-2B4B-4A12-9B48-5DDDB826A1F8}" type="pres">
      <dgm:prSet presAssocID="{700C7FDE-7C52-43AF-A912-54EAAC560290}" presName="negativeSpace" presStyleCnt="0"/>
      <dgm:spPr/>
    </dgm:pt>
    <dgm:pt modelId="{5F587435-9CF7-4F6C-87F2-372343D7530D}" type="pres">
      <dgm:prSet presAssocID="{700C7FDE-7C52-43AF-A912-54EAAC560290}" presName="childText" presStyleLbl="conFgAcc1" presStyleIdx="2" presStyleCnt="3">
        <dgm:presLayoutVars>
          <dgm:bulletEnabled val="1"/>
        </dgm:presLayoutVars>
      </dgm:prSet>
      <dgm:spPr/>
    </dgm:pt>
  </dgm:ptLst>
  <dgm:cxnLst>
    <dgm:cxn modelId="{883B1902-3B98-41F5-9F0E-0951F3351DC7}" type="presOf" srcId="{979F9A38-6828-456D-8B55-9233029280D8}" destId="{27790CDD-8475-474C-B344-AC757E2B281F}" srcOrd="0" destOrd="0" presId="urn:microsoft.com/office/officeart/2005/8/layout/list1"/>
    <dgm:cxn modelId="{27221E02-2CF1-4314-BD18-7114235688AF}" srcId="{979F9A38-6828-456D-8B55-9233029280D8}" destId="{700C7FDE-7C52-43AF-A912-54EAAC560290}" srcOrd="2" destOrd="0" parTransId="{7084C206-3097-4C95-AC00-583DE7B0FFD2}" sibTransId="{159D71C1-4030-4B12-937F-367102B2E3CE}"/>
    <dgm:cxn modelId="{9A3AC304-B3D7-4238-BC85-207BF4DBBB7E}" type="presOf" srcId="{3B4AD5C5-3134-4F5C-A924-E4C4044FFF37}" destId="{11C02CA2-11CB-4CEC-B137-48947011A9E0}" srcOrd="0" destOrd="0" presId="urn:microsoft.com/office/officeart/2005/8/layout/list1"/>
    <dgm:cxn modelId="{7F4E3707-C10F-42D2-9A51-41E5E6813703}" type="presOf" srcId="{700C7FDE-7C52-43AF-A912-54EAAC560290}" destId="{3C2EF5C4-816D-4AC2-9A47-E1B67B261E2D}" srcOrd="0" destOrd="0" presId="urn:microsoft.com/office/officeart/2005/8/layout/list1"/>
    <dgm:cxn modelId="{B6774D11-89DB-4251-8A36-3A6BE35B211B}" srcId="{3B4AD5C5-3134-4F5C-A924-E4C4044FFF37}" destId="{E4A2905A-B194-4EBA-BC1B-DC0AF461ECCE}" srcOrd="0" destOrd="0" parTransId="{843BC487-91B0-4F86-A0F0-646FBE3332F9}" sibTransId="{98DEF15A-142B-4466-9D61-B27F62E5077D}"/>
    <dgm:cxn modelId="{5145251A-9509-4115-B28D-91EEFE4677D0}" type="presOf" srcId="{E4A2905A-B194-4EBA-BC1B-DC0AF461ECCE}" destId="{DAA9A171-9642-4C41-B0C5-04148BBA5E3A}" srcOrd="0" destOrd="0" presId="urn:microsoft.com/office/officeart/2005/8/layout/list1"/>
    <dgm:cxn modelId="{8831EB20-3452-4A87-9C98-4B83CBE1FA4C}" type="presOf" srcId="{5BC36D1A-E7FA-487A-B686-99F3B061F54E}" destId="{078902AF-4506-4964-93F3-C13E507CB381}" srcOrd="1" destOrd="0" presId="urn:microsoft.com/office/officeart/2005/8/layout/list1"/>
    <dgm:cxn modelId="{EBF3163D-45E4-4149-8699-CABACDCC0CB3}" type="presOf" srcId="{ADF980F6-3597-465B-9ED2-27FFC59458C3}" destId="{0983EC31-0B3D-4831-B338-C5BB6AC9A886}" srcOrd="0" destOrd="0" presId="urn:microsoft.com/office/officeart/2005/8/layout/list1"/>
    <dgm:cxn modelId="{74EC3142-6E20-439E-8553-5D344FED9E90}" srcId="{979F9A38-6828-456D-8B55-9233029280D8}" destId="{3B4AD5C5-3134-4F5C-A924-E4C4044FFF37}" srcOrd="0" destOrd="0" parTransId="{338F181C-0C7B-4E4A-A0E4-D6A44BC90779}" sibTransId="{D1F411A6-01D5-4DBF-BEE2-A99320833EA7}"/>
    <dgm:cxn modelId="{1B8D1D66-03A9-4692-85B5-9AA9552F4824}" srcId="{979F9A38-6828-456D-8B55-9233029280D8}" destId="{5BC36D1A-E7FA-487A-B686-99F3B061F54E}" srcOrd="1" destOrd="0" parTransId="{A6F88073-560A-4142-906A-BE60133CF8F7}" sibTransId="{368B8B15-BB28-4B35-8D8F-0509E5CF55CF}"/>
    <dgm:cxn modelId="{574B4F6B-701E-4E8A-8412-6C5972638962}" type="presOf" srcId="{5BC36D1A-E7FA-487A-B686-99F3B061F54E}" destId="{A6147AA7-7DB0-46B5-971E-7970BE31AB25}" srcOrd="0" destOrd="0" presId="urn:microsoft.com/office/officeart/2005/8/layout/list1"/>
    <dgm:cxn modelId="{46BCF64C-C80A-48C1-8A3B-6133F86C5A43}" type="presOf" srcId="{3B4AD5C5-3134-4F5C-A924-E4C4044FFF37}" destId="{47CBBC90-A66E-46B6-ACE2-80CC745B3171}" srcOrd="1" destOrd="0" presId="urn:microsoft.com/office/officeart/2005/8/layout/list1"/>
    <dgm:cxn modelId="{03A9AE6F-0073-461B-A6BF-371DA47AE306}" srcId="{3B4AD5C5-3134-4F5C-A924-E4C4044FFF37}" destId="{6F76498E-EF05-4806-9F82-0A165D912CAA}" srcOrd="1" destOrd="0" parTransId="{0EB93FA1-65D6-408C-A407-8A25160CF007}" sibTransId="{2308D3D2-897D-4D9D-A136-F8635DA209DA}"/>
    <dgm:cxn modelId="{287EDE9E-069A-4CF2-AB78-699D744AA76F}" type="presOf" srcId="{6F76498E-EF05-4806-9F82-0A165D912CAA}" destId="{DAA9A171-9642-4C41-B0C5-04148BBA5E3A}" srcOrd="0" destOrd="1" presId="urn:microsoft.com/office/officeart/2005/8/layout/list1"/>
    <dgm:cxn modelId="{AF1AD8BF-AFB8-42C6-848D-D5B4AAF9629C}" srcId="{700C7FDE-7C52-43AF-A912-54EAAC560290}" destId="{CE74DE8E-CEBC-4141-B3F1-D6F8F1A31D63}" srcOrd="0" destOrd="0" parTransId="{39B0077D-42C0-453A-A243-B0724857AE39}" sibTransId="{BF54753F-5B15-4AC9-93CD-A6AB31576BF6}"/>
    <dgm:cxn modelId="{8B683EF0-2F64-46D1-BB64-D05A08123347}" srcId="{5BC36D1A-E7FA-487A-B686-99F3B061F54E}" destId="{ADF980F6-3597-465B-9ED2-27FFC59458C3}" srcOrd="0" destOrd="0" parTransId="{CB2549CA-739D-46D9-8B90-D57D33A563F6}" sibTransId="{551CC447-B940-48D5-B5C8-001FB48A3026}"/>
    <dgm:cxn modelId="{20CFB1F9-F288-4A58-BD98-7DE343645D2B}" type="presOf" srcId="{700C7FDE-7C52-43AF-A912-54EAAC560290}" destId="{991CAE23-7658-4C98-9231-A3FD52752DD9}" srcOrd="1" destOrd="0" presId="urn:microsoft.com/office/officeart/2005/8/layout/list1"/>
    <dgm:cxn modelId="{435CA7FA-3FA7-4669-A645-255C4A953685}" type="presOf" srcId="{CE74DE8E-CEBC-4141-B3F1-D6F8F1A31D63}" destId="{5F587435-9CF7-4F6C-87F2-372343D7530D}" srcOrd="0" destOrd="0" presId="urn:microsoft.com/office/officeart/2005/8/layout/list1"/>
    <dgm:cxn modelId="{C6FE928E-9465-4743-BB9E-0E47825EDED2}" type="presParOf" srcId="{27790CDD-8475-474C-B344-AC757E2B281F}" destId="{90045D8A-43E1-424C-B990-E2029D310C1A}" srcOrd="0" destOrd="0" presId="urn:microsoft.com/office/officeart/2005/8/layout/list1"/>
    <dgm:cxn modelId="{0879ABDE-8CD5-4B40-BBB2-76A58F5A02CF}" type="presParOf" srcId="{90045D8A-43E1-424C-B990-E2029D310C1A}" destId="{11C02CA2-11CB-4CEC-B137-48947011A9E0}" srcOrd="0" destOrd="0" presId="urn:microsoft.com/office/officeart/2005/8/layout/list1"/>
    <dgm:cxn modelId="{7B36D2DD-0226-4B34-84F0-93FB1ADBED9F}" type="presParOf" srcId="{90045D8A-43E1-424C-B990-E2029D310C1A}" destId="{47CBBC90-A66E-46B6-ACE2-80CC745B3171}" srcOrd="1" destOrd="0" presId="urn:microsoft.com/office/officeart/2005/8/layout/list1"/>
    <dgm:cxn modelId="{17D33BFF-CFAD-425F-ADA2-2EA98C837AF7}" type="presParOf" srcId="{27790CDD-8475-474C-B344-AC757E2B281F}" destId="{06F85241-CF22-4E78-83CC-AFFFB37ADEC8}" srcOrd="1" destOrd="0" presId="urn:microsoft.com/office/officeart/2005/8/layout/list1"/>
    <dgm:cxn modelId="{DDFC5E9F-1ADE-49BC-B635-B9562CBC9B49}" type="presParOf" srcId="{27790CDD-8475-474C-B344-AC757E2B281F}" destId="{DAA9A171-9642-4C41-B0C5-04148BBA5E3A}" srcOrd="2" destOrd="0" presId="urn:microsoft.com/office/officeart/2005/8/layout/list1"/>
    <dgm:cxn modelId="{3EE993C3-75C1-4748-9A58-AEC2563E5174}" type="presParOf" srcId="{27790CDD-8475-474C-B344-AC757E2B281F}" destId="{AB6248FD-B904-4AD3-945A-3248D52B8B2D}" srcOrd="3" destOrd="0" presId="urn:microsoft.com/office/officeart/2005/8/layout/list1"/>
    <dgm:cxn modelId="{38E57F05-D608-4638-8B6D-281E88C49B31}" type="presParOf" srcId="{27790CDD-8475-474C-B344-AC757E2B281F}" destId="{1F8B5817-68D4-43F5-9902-4CC3F4F46AA9}" srcOrd="4" destOrd="0" presId="urn:microsoft.com/office/officeart/2005/8/layout/list1"/>
    <dgm:cxn modelId="{5BC84713-D04C-4444-9226-C18788432BFC}" type="presParOf" srcId="{1F8B5817-68D4-43F5-9902-4CC3F4F46AA9}" destId="{A6147AA7-7DB0-46B5-971E-7970BE31AB25}" srcOrd="0" destOrd="0" presId="urn:microsoft.com/office/officeart/2005/8/layout/list1"/>
    <dgm:cxn modelId="{70A8C994-081D-4B73-B6B8-AEA5D7214868}" type="presParOf" srcId="{1F8B5817-68D4-43F5-9902-4CC3F4F46AA9}" destId="{078902AF-4506-4964-93F3-C13E507CB381}" srcOrd="1" destOrd="0" presId="urn:microsoft.com/office/officeart/2005/8/layout/list1"/>
    <dgm:cxn modelId="{ACD66DF9-6E49-4ADC-AB93-8538CF0FCF55}" type="presParOf" srcId="{27790CDD-8475-474C-B344-AC757E2B281F}" destId="{E8558DB2-46E3-4114-A814-E13BF91B4115}" srcOrd="5" destOrd="0" presId="urn:microsoft.com/office/officeart/2005/8/layout/list1"/>
    <dgm:cxn modelId="{583A47C3-C83C-4175-A5E1-2A86454AE9CB}" type="presParOf" srcId="{27790CDD-8475-474C-B344-AC757E2B281F}" destId="{0983EC31-0B3D-4831-B338-C5BB6AC9A886}" srcOrd="6" destOrd="0" presId="urn:microsoft.com/office/officeart/2005/8/layout/list1"/>
    <dgm:cxn modelId="{A352D9B8-3CD4-4E60-BEE1-9F701141B5CA}" type="presParOf" srcId="{27790CDD-8475-474C-B344-AC757E2B281F}" destId="{4CB67C01-E5FC-4B01-86E3-73AD2DA8E09D}" srcOrd="7" destOrd="0" presId="urn:microsoft.com/office/officeart/2005/8/layout/list1"/>
    <dgm:cxn modelId="{CD44E637-4413-41B4-B123-58073DAC559D}" type="presParOf" srcId="{27790CDD-8475-474C-B344-AC757E2B281F}" destId="{91D95BCC-8FD0-4328-AA95-36A5492FD39B}" srcOrd="8" destOrd="0" presId="urn:microsoft.com/office/officeart/2005/8/layout/list1"/>
    <dgm:cxn modelId="{988F969B-75FD-4250-B9C6-37A89F05EAAA}" type="presParOf" srcId="{91D95BCC-8FD0-4328-AA95-36A5492FD39B}" destId="{3C2EF5C4-816D-4AC2-9A47-E1B67B261E2D}" srcOrd="0" destOrd="0" presId="urn:microsoft.com/office/officeart/2005/8/layout/list1"/>
    <dgm:cxn modelId="{958E7A9D-28F4-4EFE-96C8-3E262ED3453F}" type="presParOf" srcId="{91D95BCC-8FD0-4328-AA95-36A5492FD39B}" destId="{991CAE23-7658-4C98-9231-A3FD52752DD9}" srcOrd="1" destOrd="0" presId="urn:microsoft.com/office/officeart/2005/8/layout/list1"/>
    <dgm:cxn modelId="{1CB35F35-B364-4145-AC79-70D7263967A6}" type="presParOf" srcId="{27790CDD-8475-474C-B344-AC757E2B281F}" destId="{02D5BFB6-2B4B-4A12-9B48-5DDDB826A1F8}" srcOrd="9" destOrd="0" presId="urn:microsoft.com/office/officeart/2005/8/layout/list1"/>
    <dgm:cxn modelId="{AC8743BE-4D9A-4B5B-A4EC-79BD40883E50}" type="presParOf" srcId="{27790CDD-8475-474C-B344-AC757E2B281F}" destId="{5F587435-9CF7-4F6C-87F2-372343D7530D}"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23502F6-720B-48BA-A371-80D14A884261}" type="doc">
      <dgm:prSet loTypeId="urn:microsoft.com/office/officeart/2005/8/layout/hierarchy3" loCatId="hierarchy" qsTypeId="urn:microsoft.com/office/officeart/2005/8/quickstyle/simple1" qsCatId="simple" csTypeId="urn:microsoft.com/office/officeart/2005/8/colors/accent2_3" csCatId="accent2" phldr="1"/>
      <dgm:spPr/>
      <dgm:t>
        <a:bodyPr/>
        <a:lstStyle/>
        <a:p>
          <a:endParaRPr lang="en-IN"/>
        </a:p>
      </dgm:t>
    </dgm:pt>
    <dgm:pt modelId="{54976820-20B8-4023-93EA-9CDFB274D91C}">
      <dgm:prSet phldrT="[Text]"/>
      <dgm:spPr/>
      <dgm:t>
        <a:bodyPr/>
        <a:lstStyle/>
        <a:p>
          <a:r>
            <a:rPr lang="en-IN" b="0" i="0" dirty="0"/>
            <a:t>🤖 AI Assistant</a:t>
          </a:r>
          <a:endParaRPr lang="en-IN" dirty="0"/>
        </a:p>
      </dgm:t>
    </dgm:pt>
    <dgm:pt modelId="{940FE76F-F8FC-4EB4-B55F-77F9E09B7B33}" type="parTrans" cxnId="{DA51F3CB-FDFD-4DB1-A25A-79DBE69E65D2}">
      <dgm:prSet/>
      <dgm:spPr/>
      <dgm:t>
        <a:bodyPr/>
        <a:lstStyle/>
        <a:p>
          <a:endParaRPr lang="en-IN"/>
        </a:p>
      </dgm:t>
    </dgm:pt>
    <dgm:pt modelId="{22173C67-BC10-432B-8B99-83B7A233A3E5}" type="sibTrans" cxnId="{DA51F3CB-FDFD-4DB1-A25A-79DBE69E65D2}">
      <dgm:prSet/>
      <dgm:spPr/>
      <dgm:t>
        <a:bodyPr/>
        <a:lstStyle/>
        <a:p>
          <a:endParaRPr lang="en-IN"/>
        </a:p>
      </dgm:t>
    </dgm:pt>
    <dgm:pt modelId="{0ABE4577-14FB-48C6-BBB8-7479BAA5EFD7}">
      <dgm:prSet phldrT="[Text]"/>
      <dgm:spPr/>
      <dgm:t>
        <a:bodyPr/>
        <a:lstStyle/>
        <a:p>
          <a:r>
            <a:rPr lang="en-IN" dirty="0"/>
            <a:t>🏨 Hotel Reservation Agent</a:t>
          </a:r>
        </a:p>
      </dgm:t>
    </dgm:pt>
    <dgm:pt modelId="{2A35D0DC-B554-44AD-AA37-54F38A225FD9}" type="parTrans" cxnId="{E05B2664-83AF-4738-B1F4-981E37058B82}">
      <dgm:prSet/>
      <dgm:spPr/>
      <dgm:t>
        <a:bodyPr/>
        <a:lstStyle/>
        <a:p>
          <a:endParaRPr lang="en-IN"/>
        </a:p>
      </dgm:t>
    </dgm:pt>
    <dgm:pt modelId="{F4F022E2-CEF1-4BC6-AF6F-59D86D6DE7DB}" type="sibTrans" cxnId="{E05B2664-83AF-4738-B1F4-981E37058B82}">
      <dgm:prSet/>
      <dgm:spPr/>
      <dgm:t>
        <a:bodyPr/>
        <a:lstStyle/>
        <a:p>
          <a:endParaRPr lang="en-IN"/>
        </a:p>
      </dgm:t>
    </dgm:pt>
    <dgm:pt modelId="{B46BE8E3-B9F8-4C6D-A85A-00A72F1976AE}">
      <dgm:prSet/>
      <dgm:spPr/>
      <dgm:t>
        <a:bodyPr/>
        <a:lstStyle/>
        <a:p>
          <a:r>
            <a:rPr lang="en-IN" dirty="0"/>
            <a:t>💱 Currency Conversion Agent</a:t>
          </a:r>
        </a:p>
      </dgm:t>
    </dgm:pt>
    <dgm:pt modelId="{75E634E8-3125-4F3B-A99F-36C5036F36C3}" type="parTrans" cxnId="{FD12C5C3-99D2-4548-A379-CF3B884BD052}">
      <dgm:prSet/>
      <dgm:spPr/>
      <dgm:t>
        <a:bodyPr/>
        <a:lstStyle/>
        <a:p>
          <a:endParaRPr lang="en-IN"/>
        </a:p>
      </dgm:t>
    </dgm:pt>
    <dgm:pt modelId="{511409FE-7F03-4908-A6D3-B0A022E24566}" type="sibTrans" cxnId="{FD12C5C3-99D2-4548-A379-CF3B884BD052}">
      <dgm:prSet/>
      <dgm:spPr/>
      <dgm:t>
        <a:bodyPr/>
        <a:lstStyle/>
        <a:p>
          <a:endParaRPr lang="en-IN"/>
        </a:p>
      </dgm:t>
    </dgm:pt>
    <dgm:pt modelId="{0D2277BD-D7D6-4A46-B095-53E25BADD554}">
      <dgm:prSet/>
      <dgm:spPr/>
      <dgm:t>
        <a:bodyPr/>
        <a:lstStyle/>
        <a:p>
          <a:r>
            <a:rPr lang="en-IN" dirty="0"/>
            <a:t>🚌 Local Tours Agent</a:t>
          </a:r>
        </a:p>
      </dgm:t>
    </dgm:pt>
    <dgm:pt modelId="{574D9046-80D6-45B8-8C3B-6835FE53362E}" type="parTrans" cxnId="{37B67FAA-FF8D-418F-B821-E91BD7B0310A}">
      <dgm:prSet/>
      <dgm:spPr/>
      <dgm:t>
        <a:bodyPr/>
        <a:lstStyle/>
        <a:p>
          <a:endParaRPr lang="en-IN"/>
        </a:p>
      </dgm:t>
    </dgm:pt>
    <dgm:pt modelId="{E5238AFA-7088-4514-AD0F-1EC5E6287F86}" type="sibTrans" cxnId="{37B67FAA-FF8D-418F-B821-E91BD7B0310A}">
      <dgm:prSet/>
      <dgm:spPr/>
      <dgm:t>
        <a:bodyPr/>
        <a:lstStyle/>
        <a:p>
          <a:endParaRPr lang="en-IN"/>
        </a:p>
      </dgm:t>
    </dgm:pt>
    <dgm:pt modelId="{B6F176FB-8C18-47FC-A585-27F1D72182B3}">
      <dgm:prSet/>
      <dgm:spPr/>
      <dgm:t>
        <a:bodyPr/>
        <a:lstStyle/>
        <a:p>
          <a:r>
            <a:rPr lang="en-IN" b="0" i="0" dirty="0"/>
            <a:t>✈️ Flight Booking Agent</a:t>
          </a:r>
          <a:endParaRPr lang="en-IN" dirty="0"/>
        </a:p>
      </dgm:t>
    </dgm:pt>
    <dgm:pt modelId="{1A5F6C2E-6010-413F-9E20-471C74820675}" type="parTrans" cxnId="{BA8F5F40-3109-4F61-AE0B-7D05865DD8DD}">
      <dgm:prSet/>
      <dgm:spPr/>
      <dgm:t>
        <a:bodyPr/>
        <a:lstStyle/>
        <a:p>
          <a:endParaRPr lang="en-IN"/>
        </a:p>
      </dgm:t>
    </dgm:pt>
    <dgm:pt modelId="{F230C2D7-76B6-4633-8B18-868FD1E35055}" type="sibTrans" cxnId="{BA8F5F40-3109-4F61-AE0B-7D05865DD8DD}">
      <dgm:prSet/>
      <dgm:spPr/>
      <dgm:t>
        <a:bodyPr/>
        <a:lstStyle/>
        <a:p>
          <a:endParaRPr lang="en-IN"/>
        </a:p>
      </dgm:t>
    </dgm:pt>
    <dgm:pt modelId="{8F730724-7E56-40B5-A477-4D1B89BBB94A}" type="pres">
      <dgm:prSet presAssocID="{F23502F6-720B-48BA-A371-80D14A884261}" presName="diagram" presStyleCnt="0">
        <dgm:presLayoutVars>
          <dgm:chPref val="1"/>
          <dgm:dir/>
          <dgm:animOne val="branch"/>
          <dgm:animLvl val="lvl"/>
          <dgm:resizeHandles/>
        </dgm:presLayoutVars>
      </dgm:prSet>
      <dgm:spPr/>
    </dgm:pt>
    <dgm:pt modelId="{CF7E9DE7-7503-432A-959D-FFAC0492E0C6}" type="pres">
      <dgm:prSet presAssocID="{54976820-20B8-4023-93EA-9CDFB274D91C}" presName="root" presStyleCnt="0"/>
      <dgm:spPr/>
    </dgm:pt>
    <dgm:pt modelId="{FB48DFD5-42E5-4EEA-A781-65BEC8D0B4DA}" type="pres">
      <dgm:prSet presAssocID="{54976820-20B8-4023-93EA-9CDFB274D91C}" presName="rootComposite" presStyleCnt="0"/>
      <dgm:spPr/>
    </dgm:pt>
    <dgm:pt modelId="{05B52890-DD8B-4854-A4A4-56D9DA073B8F}" type="pres">
      <dgm:prSet presAssocID="{54976820-20B8-4023-93EA-9CDFB274D91C}" presName="rootText" presStyleLbl="node1" presStyleIdx="0" presStyleCnt="1" custScaleX="198845"/>
      <dgm:spPr/>
    </dgm:pt>
    <dgm:pt modelId="{8BF83E07-F487-48DE-88F6-C8D8AAC901E4}" type="pres">
      <dgm:prSet presAssocID="{54976820-20B8-4023-93EA-9CDFB274D91C}" presName="rootConnector" presStyleLbl="node1" presStyleIdx="0" presStyleCnt="1"/>
      <dgm:spPr/>
    </dgm:pt>
    <dgm:pt modelId="{D6DD2D2C-AFDE-4F62-A44E-C3D5C3830807}" type="pres">
      <dgm:prSet presAssocID="{54976820-20B8-4023-93EA-9CDFB274D91C}" presName="childShape" presStyleCnt="0"/>
      <dgm:spPr/>
    </dgm:pt>
    <dgm:pt modelId="{011E5274-D4F2-4F7F-812B-DB0DC24596AD}" type="pres">
      <dgm:prSet presAssocID="{2A35D0DC-B554-44AD-AA37-54F38A225FD9}" presName="Name13" presStyleLbl="parChTrans1D2" presStyleIdx="0" presStyleCnt="4"/>
      <dgm:spPr/>
    </dgm:pt>
    <dgm:pt modelId="{606AB7A5-E2D0-4B08-913E-B850B9A5134B}" type="pres">
      <dgm:prSet presAssocID="{0ABE4577-14FB-48C6-BBB8-7479BAA5EFD7}" presName="childText" presStyleLbl="bgAcc1" presStyleIdx="0" presStyleCnt="4" custScaleX="193644">
        <dgm:presLayoutVars>
          <dgm:bulletEnabled val="1"/>
        </dgm:presLayoutVars>
      </dgm:prSet>
      <dgm:spPr/>
    </dgm:pt>
    <dgm:pt modelId="{BD62249A-787C-4419-9EC0-F6AF08499EDB}" type="pres">
      <dgm:prSet presAssocID="{75E634E8-3125-4F3B-A99F-36C5036F36C3}" presName="Name13" presStyleLbl="parChTrans1D2" presStyleIdx="1" presStyleCnt="4"/>
      <dgm:spPr/>
    </dgm:pt>
    <dgm:pt modelId="{9CE70DF4-DA01-4EA5-A5BA-FEC3745941CA}" type="pres">
      <dgm:prSet presAssocID="{B46BE8E3-B9F8-4C6D-A85A-00A72F1976AE}" presName="childText" presStyleLbl="bgAcc1" presStyleIdx="1" presStyleCnt="4" custScaleX="193644">
        <dgm:presLayoutVars>
          <dgm:bulletEnabled val="1"/>
        </dgm:presLayoutVars>
      </dgm:prSet>
      <dgm:spPr/>
    </dgm:pt>
    <dgm:pt modelId="{FB5FC0E6-236D-4466-B320-9F325EA89B74}" type="pres">
      <dgm:prSet presAssocID="{574D9046-80D6-45B8-8C3B-6835FE53362E}" presName="Name13" presStyleLbl="parChTrans1D2" presStyleIdx="2" presStyleCnt="4"/>
      <dgm:spPr/>
    </dgm:pt>
    <dgm:pt modelId="{AFCF9A0B-506B-4A2B-BBC0-7A76550C3781}" type="pres">
      <dgm:prSet presAssocID="{0D2277BD-D7D6-4A46-B095-53E25BADD554}" presName="childText" presStyleLbl="bgAcc1" presStyleIdx="2" presStyleCnt="4" custScaleX="193644">
        <dgm:presLayoutVars>
          <dgm:bulletEnabled val="1"/>
        </dgm:presLayoutVars>
      </dgm:prSet>
      <dgm:spPr/>
    </dgm:pt>
    <dgm:pt modelId="{3F84D0F6-EFE3-44EE-821A-12A0831AE441}" type="pres">
      <dgm:prSet presAssocID="{1A5F6C2E-6010-413F-9E20-471C74820675}" presName="Name13" presStyleLbl="parChTrans1D2" presStyleIdx="3" presStyleCnt="4"/>
      <dgm:spPr/>
    </dgm:pt>
    <dgm:pt modelId="{B96D8F60-15A2-45F1-A29A-E22246A81600}" type="pres">
      <dgm:prSet presAssocID="{B6F176FB-8C18-47FC-A585-27F1D72182B3}" presName="childText" presStyleLbl="bgAcc1" presStyleIdx="3" presStyleCnt="4" custScaleX="193644">
        <dgm:presLayoutVars>
          <dgm:bulletEnabled val="1"/>
        </dgm:presLayoutVars>
      </dgm:prSet>
      <dgm:spPr/>
    </dgm:pt>
  </dgm:ptLst>
  <dgm:cxnLst>
    <dgm:cxn modelId="{8615370F-DC79-40F9-9C87-09650D93CDA9}" type="presOf" srcId="{2A35D0DC-B554-44AD-AA37-54F38A225FD9}" destId="{011E5274-D4F2-4F7F-812B-DB0DC24596AD}" srcOrd="0" destOrd="0" presId="urn:microsoft.com/office/officeart/2005/8/layout/hierarchy3"/>
    <dgm:cxn modelId="{6494FF27-8052-451F-ACB8-B87D616337C6}" type="presOf" srcId="{54976820-20B8-4023-93EA-9CDFB274D91C}" destId="{05B52890-DD8B-4854-A4A4-56D9DA073B8F}" srcOrd="0" destOrd="0" presId="urn:microsoft.com/office/officeart/2005/8/layout/hierarchy3"/>
    <dgm:cxn modelId="{D0043D3E-A062-4DFB-BAE2-D0AD1B82C7F9}" type="presOf" srcId="{574D9046-80D6-45B8-8C3B-6835FE53362E}" destId="{FB5FC0E6-236D-4466-B320-9F325EA89B74}" srcOrd="0" destOrd="0" presId="urn:microsoft.com/office/officeart/2005/8/layout/hierarchy3"/>
    <dgm:cxn modelId="{BA8F5F40-3109-4F61-AE0B-7D05865DD8DD}" srcId="{54976820-20B8-4023-93EA-9CDFB274D91C}" destId="{B6F176FB-8C18-47FC-A585-27F1D72182B3}" srcOrd="3" destOrd="0" parTransId="{1A5F6C2E-6010-413F-9E20-471C74820675}" sibTransId="{F230C2D7-76B6-4633-8B18-868FD1E35055}"/>
    <dgm:cxn modelId="{8459C95D-CAAF-4CE9-B544-309B23E35618}" type="presOf" srcId="{54976820-20B8-4023-93EA-9CDFB274D91C}" destId="{8BF83E07-F487-48DE-88F6-C8D8AAC901E4}" srcOrd="1" destOrd="0" presId="urn:microsoft.com/office/officeart/2005/8/layout/hierarchy3"/>
    <dgm:cxn modelId="{69136A60-10E4-4C9E-8AD5-F02083ED3EFB}" type="presOf" srcId="{B6F176FB-8C18-47FC-A585-27F1D72182B3}" destId="{B96D8F60-15A2-45F1-A29A-E22246A81600}" srcOrd="0" destOrd="0" presId="urn:microsoft.com/office/officeart/2005/8/layout/hierarchy3"/>
    <dgm:cxn modelId="{E05B2664-83AF-4738-B1F4-981E37058B82}" srcId="{54976820-20B8-4023-93EA-9CDFB274D91C}" destId="{0ABE4577-14FB-48C6-BBB8-7479BAA5EFD7}" srcOrd="0" destOrd="0" parTransId="{2A35D0DC-B554-44AD-AA37-54F38A225FD9}" sibTransId="{F4F022E2-CEF1-4BC6-AF6F-59D86D6DE7DB}"/>
    <dgm:cxn modelId="{7B64FEA9-2EB0-47DA-8EA9-925D233F4596}" type="presOf" srcId="{0ABE4577-14FB-48C6-BBB8-7479BAA5EFD7}" destId="{606AB7A5-E2D0-4B08-913E-B850B9A5134B}" srcOrd="0" destOrd="0" presId="urn:microsoft.com/office/officeart/2005/8/layout/hierarchy3"/>
    <dgm:cxn modelId="{37B67FAA-FF8D-418F-B821-E91BD7B0310A}" srcId="{54976820-20B8-4023-93EA-9CDFB274D91C}" destId="{0D2277BD-D7D6-4A46-B095-53E25BADD554}" srcOrd="2" destOrd="0" parTransId="{574D9046-80D6-45B8-8C3B-6835FE53362E}" sibTransId="{E5238AFA-7088-4514-AD0F-1EC5E6287F86}"/>
    <dgm:cxn modelId="{F527CEB7-C862-449D-A7B2-ED537CEC3790}" type="presOf" srcId="{B46BE8E3-B9F8-4C6D-A85A-00A72F1976AE}" destId="{9CE70DF4-DA01-4EA5-A5BA-FEC3745941CA}" srcOrd="0" destOrd="0" presId="urn:microsoft.com/office/officeart/2005/8/layout/hierarchy3"/>
    <dgm:cxn modelId="{ED16E5BD-A4A0-4B83-A1AC-4CDCE943ED61}" type="presOf" srcId="{75E634E8-3125-4F3B-A99F-36C5036F36C3}" destId="{BD62249A-787C-4419-9EC0-F6AF08499EDB}" srcOrd="0" destOrd="0" presId="urn:microsoft.com/office/officeart/2005/8/layout/hierarchy3"/>
    <dgm:cxn modelId="{9ACABFBF-B9C4-4110-BA49-069044264A9F}" type="presOf" srcId="{0D2277BD-D7D6-4A46-B095-53E25BADD554}" destId="{AFCF9A0B-506B-4A2B-BBC0-7A76550C3781}" srcOrd="0" destOrd="0" presId="urn:microsoft.com/office/officeart/2005/8/layout/hierarchy3"/>
    <dgm:cxn modelId="{FD12C5C3-99D2-4548-A379-CF3B884BD052}" srcId="{54976820-20B8-4023-93EA-9CDFB274D91C}" destId="{B46BE8E3-B9F8-4C6D-A85A-00A72F1976AE}" srcOrd="1" destOrd="0" parTransId="{75E634E8-3125-4F3B-A99F-36C5036F36C3}" sibTransId="{511409FE-7F03-4908-A6D3-B0A022E24566}"/>
    <dgm:cxn modelId="{DA51F3CB-FDFD-4DB1-A25A-79DBE69E65D2}" srcId="{F23502F6-720B-48BA-A371-80D14A884261}" destId="{54976820-20B8-4023-93EA-9CDFB274D91C}" srcOrd="0" destOrd="0" parTransId="{940FE76F-F8FC-4EB4-B55F-77F9E09B7B33}" sibTransId="{22173C67-BC10-432B-8B99-83B7A233A3E5}"/>
    <dgm:cxn modelId="{42833CD8-755D-4544-B85A-C9C57080B19E}" type="presOf" srcId="{1A5F6C2E-6010-413F-9E20-471C74820675}" destId="{3F84D0F6-EFE3-44EE-821A-12A0831AE441}" srcOrd="0" destOrd="0" presId="urn:microsoft.com/office/officeart/2005/8/layout/hierarchy3"/>
    <dgm:cxn modelId="{B5D9DAED-E4C0-49F7-9146-CC1E4CF76025}" type="presOf" srcId="{F23502F6-720B-48BA-A371-80D14A884261}" destId="{8F730724-7E56-40B5-A477-4D1B89BBB94A}" srcOrd="0" destOrd="0" presId="urn:microsoft.com/office/officeart/2005/8/layout/hierarchy3"/>
    <dgm:cxn modelId="{04149A08-B5F1-4A06-861A-1234EC3BBFA7}" type="presParOf" srcId="{8F730724-7E56-40B5-A477-4D1B89BBB94A}" destId="{CF7E9DE7-7503-432A-959D-FFAC0492E0C6}" srcOrd="0" destOrd="0" presId="urn:microsoft.com/office/officeart/2005/8/layout/hierarchy3"/>
    <dgm:cxn modelId="{65C23A4C-5110-48AA-A892-F63D5FF161DE}" type="presParOf" srcId="{CF7E9DE7-7503-432A-959D-FFAC0492E0C6}" destId="{FB48DFD5-42E5-4EEA-A781-65BEC8D0B4DA}" srcOrd="0" destOrd="0" presId="urn:microsoft.com/office/officeart/2005/8/layout/hierarchy3"/>
    <dgm:cxn modelId="{8A4D94DE-C2E6-4E0B-917D-C4DF2C5CBDAB}" type="presParOf" srcId="{FB48DFD5-42E5-4EEA-A781-65BEC8D0B4DA}" destId="{05B52890-DD8B-4854-A4A4-56D9DA073B8F}" srcOrd="0" destOrd="0" presId="urn:microsoft.com/office/officeart/2005/8/layout/hierarchy3"/>
    <dgm:cxn modelId="{8C673323-F820-4524-AAE0-BA6747562808}" type="presParOf" srcId="{FB48DFD5-42E5-4EEA-A781-65BEC8D0B4DA}" destId="{8BF83E07-F487-48DE-88F6-C8D8AAC901E4}" srcOrd="1" destOrd="0" presId="urn:microsoft.com/office/officeart/2005/8/layout/hierarchy3"/>
    <dgm:cxn modelId="{BAA70EE9-9BE5-42E1-8CBF-AD344F21108A}" type="presParOf" srcId="{CF7E9DE7-7503-432A-959D-FFAC0492E0C6}" destId="{D6DD2D2C-AFDE-4F62-A44E-C3D5C3830807}" srcOrd="1" destOrd="0" presId="urn:microsoft.com/office/officeart/2005/8/layout/hierarchy3"/>
    <dgm:cxn modelId="{90C18A93-9569-4112-99B1-76F53668FA41}" type="presParOf" srcId="{D6DD2D2C-AFDE-4F62-A44E-C3D5C3830807}" destId="{011E5274-D4F2-4F7F-812B-DB0DC24596AD}" srcOrd="0" destOrd="0" presId="urn:microsoft.com/office/officeart/2005/8/layout/hierarchy3"/>
    <dgm:cxn modelId="{607109D8-9A1F-49B7-9EC1-58F495BAE85D}" type="presParOf" srcId="{D6DD2D2C-AFDE-4F62-A44E-C3D5C3830807}" destId="{606AB7A5-E2D0-4B08-913E-B850B9A5134B}" srcOrd="1" destOrd="0" presId="urn:microsoft.com/office/officeart/2005/8/layout/hierarchy3"/>
    <dgm:cxn modelId="{83070522-5F72-4407-8354-B18F3AC7B330}" type="presParOf" srcId="{D6DD2D2C-AFDE-4F62-A44E-C3D5C3830807}" destId="{BD62249A-787C-4419-9EC0-F6AF08499EDB}" srcOrd="2" destOrd="0" presId="urn:microsoft.com/office/officeart/2005/8/layout/hierarchy3"/>
    <dgm:cxn modelId="{7A7F8659-98E7-493B-90A8-0D76ECB2BA77}" type="presParOf" srcId="{D6DD2D2C-AFDE-4F62-A44E-C3D5C3830807}" destId="{9CE70DF4-DA01-4EA5-A5BA-FEC3745941CA}" srcOrd="3" destOrd="0" presId="urn:microsoft.com/office/officeart/2005/8/layout/hierarchy3"/>
    <dgm:cxn modelId="{843EB7D1-43EA-49CE-9A62-72C72046442E}" type="presParOf" srcId="{D6DD2D2C-AFDE-4F62-A44E-C3D5C3830807}" destId="{FB5FC0E6-236D-4466-B320-9F325EA89B74}" srcOrd="4" destOrd="0" presId="urn:microsoft.com/office/officeart/2005/8/layout/hierarchy3"/>
    <dgm:cxn modelId="{233B58BA-2F5F-4AED-990C-3E230C80D4FB}" type="presParOf" srcId="{D6DD2D2C-AFDE-4F62-A44E-C3D5C3830807}" destId="{AFCF9A0B-506B-4A2B-BBC0-7A76550C3781}" srcOrd="5" destOrd="0" presId="urn:microsoft.com/office/officeart/2005/8/layout/hierarchy3"/>
    <dgm:cxn modelId="{709C2732-1240-4326-9B84-59C59EB9A354}" type="presParOf" srcId="{D6DD2D2C-AFDE-4F62-A44E-C3D5C3830807}" destId="{3F84D0F6-EFE3-44EE-821A-12A0831AE441}" srcOrd="6" destOrd="0" presId="urn:microsoft.com/office/officeart/2005/8/layout/hierarchy3"/>
    <dgm:cxn modelId="{FF10E45D-0462-4E19-88D1-81DAA7A6D374}" type="presParOf" srcId="{D6DD2D2C-AFDE-4F62-A44E-C3D5C3830807}" destId="{B96D8F60-15A2-45F1-A29A-E22246A81600}" srcOrd="7"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37C1951-E7DB-4619-8E30-1235C123420B}"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IN"/>
        </a:p>
      </dgm:t>
    </dgm:pt>
    <dgm:pt modelId="{9A06B0CA-F4E2-4D98-A93E-D1A4690E3F52}">
      <dgm:prSet phldrT="[Text]" phldr="0" custT="1"/>
      <dgm:spPr/>
      <dgm:t>
        <a:bodyPr/>
        <a:lstStyle/>
        <a:p>
          <a:r>
            <a:rPr lang="en-US" sz="2800" dirty="0"/>
            <a:t>Agent Card</a:t>
          </a:r>
        </a:p>
        <a:p>
          <a:endParaRPr lang="en-IN" sz="2800" dirty="0"/>
        </a:p>
        <a:p>
          <a:r>
            <a:rPr lang="en-IN" sz="2800" dirty="0" err="1"/>
            <a:t>agent.json</a:t>
          </a:r>
          <a:endParaRPr lang="en-IN" sz="2800" dirty="0"/>
        </a:p>
      </dgm:t>
    </dgm:pt>
    <dgm:pt modelId="{1077A625-A016-49FF-8228-6996585F7903}" type="parTrans" cxnId="{1A7EBBFD-627F-4AD0-AC25-A198C402CFE6}">
      <dgm:prSet/>
      <dgm:spPr/>
      <dgm:t>
        <a:bodyPr/>
        <a:lstStyle/>
        <a:p>
          <a:endParaRPr lang="en-IN" sz="3200"/>
        </a:p>
      </dgm:t>
    </dgm:pt>
    <dgm:pt modelId="{5AD60E55-BC2A-4C7F-AF07-E2B19A1A8BAB}" type="sibTrans" cxnId="{1A7EBBFD-627F-4AD0-AC25-A198C402CFE6}">
      <dgm:prSet/>
      <dgm:spPr/>
      <dgm:t>
        <a:bodyPr/>
        <a:lstStyle/>
        <a:p>
          <a:endParaRPr lang="en-IN" sz="3200"/>
        </a:p>
      </dgm:t>
    </dgm:pt>
    <dgm:pt modelId="{7BB9F267-B051-495E-8FB0-41E978118D52}">
      <dgm:prSet phldrT="[Text]" phldr="0" custT="1"/>
      <dgm:spPr/>
      <dgm:t>
        <a:bodyPr/>
        <a:lstStyle/>
        <a:p>
          <a:r>
            <a:rPr lang="en-US" sz="1200" dirty="0"/>
            <a:t>Name</a:t>
          </a:r>
        </a:p>
      </dgm:t>
    </dgm:pt>
    <dgm:pt modelId="{6E6E251A-4DDB-4707-AC42-499C92BE6428}" type="parTrans" cxnId="{F9553EBA-9F4B-4EB5-B13F-155DBA9A1CB4}">
      <dgm:prSet/>
      <dgm:spPr/>
      <dgm:t>
        <a:bodyPr/>
        <a:lstStyle/>
        <a:p>
          <a:endParaRPr lang="en-IN" sz="3200"/>
        </a:p>
      </dgm:t>
    </dgm:pt>
    <dgm:pt modelId="{FAF9B8D2-B484-4B28-B043-45707CEF695C}" type="sibTrans" cxnId="{F9553EBA-9F4B-4EB5-B13F-155DBA9A1CB4}">
      <dgm:prSet/>
      <dgm:spPr/>
      <dgm:t>
        <a:bodyPr/>
        <a:lstStyle/>
        <a:p>
          <a:endParaRPr lang="en-IN" sz="3200"/>
        </a:p>
      </dgm:t>
    </dgm:pt>
    <dgm:pt modelId="{9C369324-87A2-408E-BD41-4DE9C24DFDAA}">
      <dgm:prSet phldrT="[Text]" phldr="0" custT="1"/>
      <dgm:spPr/>
      <dgm:t>
        <a:bodyPr/>
        <a:lstStyle/>
        <a:p>
          <a:r>
            <a:rPr lang="en-US" sz="1200" dirty="0"/>
            <a:t>Description</a:t>
          </a:r>
          <a:endParaRPr lang="en-IN" sz="1200" dirty="0"/>
        </a:p>
      </dgm:t>
    </dgm:pt>
    <dgm:pt modelId="{6FB2914D-D39F-4051-8873-F34F349457DD}" type="parTrans" cxnId="{A9F60109-F645-4530-88B4-0FC5321D4152}">
      <dgm:prSet/>
      <dgm:spPr/>
      <dgm:t>
        <a:bodyPr/>
        <a:lstStyle/>
        <a:p>
          <a:endParaRPr lang="en-IN" sz="3200"/>
        </a:p>
      </dgm:t>
    </dgm:pt>
    <dgm:pt modelId="{4D18F3D1-4090-4909-9006-F6EEAE3275E6}" type="sibTrans" cxnId="{A9F60109-F645-4530-88B4-0FC5321D4152}">
      <dgm:prSet/>
      <dgm:spPr/>
      <dgm:t>
        <a:bodyPr/>
        <a:lstStyle/>
        <a:p>
          <a:endParaRPr lang="en-IN" sz="3200"/>
        </a:p>
      </dgm:t>
    </dgm:pt>
    <dgm:pt modelId="{7C8641DC-062A-46E0-89E4-759B87825E83}">
      <dgm:prSet phldrT="[Text]" phldr="0" custT="1"/>
      <dgm:spPr/>
      <dgm:t>
        <a:bodyPr/>
        <a:lstStyle/>
        <a:p>
          <a:r>
            <a:rPr lang="en-US" sz="1200" dirty="0"/>
            <a:t>URL</a:t>
          </a:r>
          <a:endParaRPr lang="en-IN" sz="1200" dirty="0"/>
        </a:p>
      </dgm:t>
    </dgm:pt>
    <dgm:pt modelId="{9170B50D-EB98-489C-AF9A-1021C2DCF762}" type="parTrans" cxnId="{6DAD9E8B-5350-4D1E-A833-CD9874B3B1D4}">
      <dgm:prSet/>
      <dgm:spPr/>
      <dgm:t>
        <a:bodyPr/>
        <a:lstStyle/>
        <a:p>
          <a:endParaRPr lang="en-IN" sz="3200"/>
        </a:p>
      </dgm:t>
    </dgm:pt>
    <dgm:pt modelId="{2472DDAC-80DC-43AC-91A6-3E406EBD666E}" type="sibTrans" cxnId="{6DAD9E8B-5350-4D1E-A833-CD9874B3B1D4}">
      <dgm:prSet/>
      <dgm:spPr/>
      <dgm:t>
        <a:bodyPr/>
        <a:lstStyle/>
        <a:p>
          <a:endParaRPr lang="en-IN" sz="3200"/>
        </a:p>
      </dgm:t>
    </dgm:pt>
    <dgm:pt modelId="{E6903536-A198-407C-8241-7C6A97CF370F}">
      <dgm:prSet phldrT="[Text]" phldr="0" custT="1"/>
      <dgm:spPr/>
      <dgm:t>
        <a:bodyPr/>
        <a:lstStyle/>
        <a:p>
          <a:r>
            <a:rPr lang="en-US" sz="1200" dirty="0"/>
            <a:t>Version</a:t>
          </a:r>
          <a:endParaRPr lang="en-IN" sz="1200" dirty="0"/>
        </a:p>
      </dgm:t>
    </dgm:pt>
    <dgm:pt modelId="{554ABBB8-F7CC-4E31-ADD9-4FB0847081E3}" type="parTrans" cxnId="{69F32B56-EDBD-44A7-A78A-4CE326773D68}">
      <dgm:prSet/>
      <dgm:spPr/>
      <dgm:t>
        <a:bodyPr/>
        <a:lstStyle/>
        <a:p>
          <a:endParaRPr lang="en-IN" sz="3200"/>
        </a:p>
      </dgm:t>
    </dgm:pt>
    <dgm:pt modelId="{053EA9DD-5AE3-47E9-8A43-510243D9737A}" type="sibTrans" cxnId="{69F32B56-EDBD-44A7-A78A-4CE326773D68}">
      <dgm:prSet/>
      <dgm:spPr/>
      <dgm:t>
        <a:bodyPr/>
        <a:lstStyle/>
        <a:p>
          <a:endParaRPr lang="en-IN" sz="3200"/>
        </a:p>
      </dgm:t>
    </dgm:pt>
    <dgm:pt modelId="{56F6C32D-0344-45DE-924C-DDB327C19D6F}">
      <dgm:prSet phldrT="[Text]" phldr="0" custT="1"/>
      <dgm:spPr/>
      <dgm:t>
        <a:bodyPr/>
        <a:lstStyle/>
        <a:p>
          <a:r>
            <a:rPr lang="en-US" sz="1200" dirty="0"/>
            <a:t>Default input/output mode</a:t>
          </a:r>
          <a:endParaRPr lang="en-IN" sz="1200" dirty="0"/>
        </a:p>
      </dgm:t>
    </dgm:pt>
    <dgm:pt modelId="{9252DB65-41F5-4045-ABE0-F95774F8687E}" type="parTrans" cxnId="{AD33A357-6039-4904-BBD3-A4CB26C7A4A0}">
      <dgm:prSet/>
      <dgm:spPr/>
      <dgm:t>
        <a:bodyPr/>
        <a:lstStyle/>
        <a:p>
          <a:endParaRPr lang="en-IN" sz="3200"/>
        </a:p>
      </dgm:t>
    </dgm:pt>
    <dgm:pt modelId="{25B8A385-3914-4F97-AF79-52D580160771}" type="sibTrans" cxnId="{AD33A357-6039-4904-BBD3-A4CB26C7A4A0}">
      <dgm:prSet/>
      <dgm:spPr/>
      <dgm:t>
        <a:bodyPr/>
        <a:lstStyle/>
        <a:p>
          <a:endParaRPr lang="en-IN" sz="3200"/>
        </a:p>
      </dgm:t>
    </dgm:pt>
    <dgm:pt modelId="{3BA6BFC7-F72A-4A0F-A8E9-C6760121B058}">
      <dgm:prSet phldrT="[Text]" phldr="0" custT="1"/>
      <dgm:spPr/>
      <dgm:t>
        <a:bodyPr/>
        <a:lstStyle/>
        <a:p>
          <a:r>
            <a:rPr lang="en-US" sz="1200" dirty="0"/>
            <a:t>Skills: [ </a:t>
          </a:r>
          <a:r>
            <a:rPr lang="en-US" sz="1200" dirty="0" err="1"/>
            <a:t>AgentSkill</a:t>
          </a:r>
          <a:r>
            <a:rPr lang="en-US" sz="1200" dirty="0"/>
            <a:t>(</a:t>
          </a:r>
        </a:p>
        <a:p>
          <a:r>
            <a:rPr lang="en-US" sz="1200" dirty="0"/>
            <a:t>Id</a:t>
          </a:r>
        </a:p>
        <a:p>
          <a:r>
            <a:rPr lang="en-US" sz="1200" dirty="0"/>
            <a:t>Name</a:t>
          </a:r>
        </a:p>
        <a:p>
          <a:r>
            <a:rPr lang="en-US" sz="1200" dirty="0" err="1"/>
            <a:t>Descpription</a:t>
          </a:r>
          <a:endParaRPr lang="en-US" sz="1200" dirty="0"/>
        </a:p>
        <a:p>
          <a:r>
            <a:rPr lang="en-US" sz="1200" dirty="0"/>
            <a:t>Tags</a:t>
          </a:r>
        </a:p>
        <a:p>
          <a:r>
            <a:rPr lang="en-US" sz="1200" dirty="0"/>
            <a:t>Examples</a:t>
          </a:r>
        </a:p>
        <a:p>
          <a:r>
            <a:rPr lang="en-US" sz="1200" dirty="0"/>
            <a:t>)]</a:t>
          </a:r>
          <a:endParaRPr lang="en-IN" sz="1200" dirty="0"/>
        </a:p>
      </dgm:t>
    </dgm:pt>
    <dgm:pt modelId="{A75BD72B-85F2-44F4-8CC1-508F6C9713DA}" type="parTrans" cxnId="{AA60862D-80DA-4E89-960B-CDEFE38A8DD4}">
      <dgm:prSet/>
      <dgm:spPr/>
      <dgm:t>
        <a:bodyPr/>
        <a:lstStyle/>
        <a:p>
          <a:endParaRPr lang="en-IN" sz="3200"/>
        </a:p>
      </dgm:t>
    </dgm:pt>
    <dgm:pt modelId="{5314A4C7-566A-4B64-AB61-96554B46FFF5}" type="sibTrans" cxnId="{AA60862D-80DA-4E89-960B-CDEFE38A8DD4}">
      <dgm:prSet/>
      <dgm:spPr/>
      <dgm:t>
        <a:bodyPr/>
        <a:lstStyle/>
        <a:p>
          <a:endParaRPr lang="en-IN" sz="3200"/>
        </a:p>
      </dgm:t>
    </dgm:pt>
    <dgm:pt modelId="{9FFCA63F-8096-4D13-9884-A0077F10C2E3}" type="pres">
      <dgm:prSet presAssocID="{137C1951-E7DB-4619-8E30-1235C123420B}" presName="vert0" presStyleCnt="0">
        <dgm:presLayoutVars>
          <dgm:dir/>
          <dgm:animOne val="branch"/>
          <dgm:animLvl val="lvl"/>
        </dgm:presLayoutVars>
      </dgm:prSet>
      <dgm:spPr/>
    </dgm:pt>
    <dgm:pt modelId="{4BAB7147-E550-4B0C-A285-CFAD616C72A3}" type="pres">
      <dgm:prSet presAssocID="{9A06B0CA-F4E2-4D98-A93E-D1A4690E3F52}" presName="thickLine" presStyleLbl="alignNode1" presStyleIdx="0" presStyleCnt="1"/>
      <dgm:spPr/>
    </dgm:pt>
    <dgm:pt modelId="{04D45A10-E287-4B4E-A272-AA28B41DDC92}" type="pres">
      <dgm:prSet presAssocID="{9A06B0CA-F4E2-4D98-A93E-D1A4690E3F52}" presName="horz1" presStyleCnt="0"/>
      <dgm:spPr/>
    </dgm:pt>
    <dgm:pt modelId="{CCBBC248-B196-4214-8F10-CFDAB3574A0A}" type="pres">
      <dgm:prSet presAssocID="{9A06B0CA-F4E2-4D98-A93E-D1A4690E3F52}" presName="tx1" presStyleLbl="revTx" presStyleIdx="0" presStyleCnt="7" custScaleX="212741"/>
      <dgm:spPr/>
    </dgm:pt>
    <dgm:pt modelId="{27D562FB-1999-44A5-BA96-BAF80F52BE44}" type="pres">
      <dgm:prSet presAssocID="{9A06B0CA-F4E2-4D98-A93E-D1A4690E3F52}" presName="vert1" presStyleCnt="0"/>
      <dgm:spPr/>
    </dgm:pt>
    <dgm:pt modelId="{D96E2DA9-0DAC-4FEF-A52F-81C6CA6B20D6}" type="pres">
      <dgm:prSet presAssocID="{7BB9F267-B051-495E-8FB0-41E978118D52}" presName="vertSpace2a" presStyleCnt="0"/>
      <dgm:spPr/>
    </dgm:pt>
    <dgm:pt modelId="{B89F9A5E-7A19-471E-B7F2-E4AAB79B55E2}" type="pres">
      <dgm:prSet presAssocID="{7BB9F267-B051-495E-8FB0-41E978118D52}" presName="horz2" presStyleCnt="0"/>
      <dgm:spPr/>
    </dgm:pt>
    <dgm:pt modelId="{B1FB833D-B1D7-4E44-A0D4-98371ED8D98B}" type="pres">
      <dgm:prSet presAssocID="{7BB9F267-B051-495E-8FB0-41E978118D52}" presName="horzSpace2" presStyleCnt="0"/>
      <dgm:spPr/>
    </dgm:pt>
    <dgm:pt modelId="{76B287FE-05F8-4EA2-A2E7-06D76B66BFF7}" type="pres">
      <dgm:prSet presAssocID="{7BB9F267-B051-495E-8FB0-41E978118D52}" presName="tx2" presStyleLbl="revTx" presStyleIdx="1" presStyleCnt="7" custScaleY="22239"/>
      <dgm:spPr/>
    </dgm:pt>
    <dgm:pt modelId="{6BE9B3BB-C53E-4049-8368-822B92965E18}" type="pres">
      <dgm:prSet presAssocID="{7BB9F267-B051-495E-8FB0-41E978118D52}" presName="vert2" presStyleCnt="0"/>
      <dgm:spPr/>
    </dgm:pt>
    <dgm:pt modelId="{EDC480BC-B88B-4E7B-91C9-05FBB0FB0345}" type="pres">
      <dgm:prSet presAssocID="{7BB9F267-B051-495E-8FB0-41E978118D52}" presName="thinLine2b" presStyleLbl="callout" presStyleIdx="0" presStyleCnt="6"/>
      <dgm:spPr/>
    </dgm:pt>
    <dgm:pt modelId="{25021CF3-D0AF-4892-9A9D-72C78E5304C2}" type="pres">
      <dgm:prSet presAssocID="{7BB9F267-B051-495E-8FB0-41E978118D52}" presName="vertSpace2b" presStyleCnt="0"/>
      <dgm:spPr/>
    </dgm:pt>
    <dgm:pt modelId="{E8E38E46-6881-4D65-A25F-5226E32B1228}" type="pres">
      <dgm:prSet presAssocID="{9C369324-87A2-408E-BD41-4DE9C24DFDAA}" presName="horz2" presStyleCnt="0"/>
      <dgm:spPr/>
    </dgm:pt>
    <dgm:pt modelId="{E7C21E8E-72F2-49E2-BDB7-1CDD680ED855}" type="pres">
      <dgm:prSet presAssocID="{9C369324-87A2-408E-BD41-4DE9C24DFDAA}" presName="horzSpace2" presStyleCnt="0"/>
      <dgm:spPr/>
    </dgm:pt>
    <dgm:pt modelId="{C7745F3E-CFBE-4139-AB21-AEA371E88A03}" type="pres">
      <dgm:prSet presAssocID="{9C369324-87A2-408E-BD41-4DE9C24DFDAA}" presName="tx2" presStyleLbl="revTx" presStyleIdx="2" presStyleCnt="7" custScaleY="20774"/>
      <dgm:spPr/>
    </dgm:pt>
    <dgm:pt modelId="{21BCAF97-182A-4975-9951-30DAAED49545}" type="pres">
      <dgm:prSet presAssocID="{9C369324-87A2-408E-BD41-4DE9C24DFDAA}" presName="vert2" presStyleCnt="0"/>
      <dgm:spPr/>
    </dgm:pt>
    <dgm:pt modelId="{762D712C-F763-487B-B1B5-5EB45C272706}" type="pres">
      <dgm:prSet presAssocID="{9C369324-87A2-408E-BD41-4DE9C24DFDAA}" presName="thinLine2b" presStyleLbl="callout" presStyleIdx="1" presStyleCnt="6"/>
      <dgm:spPr/>
    </dgm:pt>
    <dgm:pt modelId="{7BF92F47-19A4-49DD-BFD2-0EC156C2DB98}" type="pres">
      <dgm:prSet presAssocID="{9C369324-87A2-408E-BD41-4DE9C24DFDAA}" presName="vertSpace2b" presStyleCnt="0"/>
      <dgm:spPr/>
    </dgm:pt>
    <dgm:pt modelId="{4F092064-8631-4594-A4EA-A3DB0F3E454E}" type="pres">
      <dgm:prSet presAssocID="{7C8641DC-062A-46E0-89E4-759B87825E83}" presName="horz2" presStyleCnt="0"/>
      <dgm:spPr/>
    </dgm:pt>
    <dgm:pt modelId="{BC4701C0-44DB-46DE-B216-AB7FD119809F}" type="pres">
      <dgm:prSet presAssocID="{7C8641DC-062A-46E0-89E4-759B87825E83}" presName="horzSpace2" presStyleCnt="0"/>
      <dgm:spPr/>
    </dgm:pt>
    <dgm:pt modelId="{271F3DA8-FBAB-49DB-9767-284DFF91E8D0}" type="pres">
      <dgm:prSet presAssocID="{7C8641DC-062A-46E0-89E4-759B87825E83}" presName="tx2" presStyleLbl="revTx" presStyleIdx="3" presStyleCnt="7" custScaleY="22989"/>
      <dgm:spPr/>
    </dgm:pt>
    <dgm:pt modelId="{C735255C-D5C0-4BA8-AFDD-AAFCDD965A61}" type="pres">
      <dgm:prSet presAssocID="{7C8641DC-062A-46E0-89E4-759B87825E83}" presName="vert2" presStyleCnt="0"/>
      <dgm:spPr/>
    </dgm:pt>
    <dgm:pt modelId="{CF678F4D-810E-4E8A-97BD-7F4AC66FA882}" type="pres">
      <dgm:prSet presAssocID="{7C8641DC-062A-46E0-89E4-759B87825E83}" presName="thinLine2b" presStyleLbl="callout" presStyleIdx="2" presStyleCnt="6"/>
      <dgm:spPr/>
    </dgm:pt>
    <dgm:pt modelId="{D38B61EF-92BD-4C89-9D6E-04828D772BDA}" type="pres">
      <dgm:prSet presAssocID="{7C8641DC-062A-46E0-89E4-759B87825E83}" presName="vertSpace2b" presStyleCnt="0"/>
      <dgm:spPr/>
    </dgm:pt>
    <dgm:pt modelId="{AAA7AD72-8F28-4788-AE5D-232E9638CEA0}" type="pres">
      <dgm:prSet presAssocID="{E6903536-A198-407C-8241-7C6A97CF370F}" presName="horz2" presStyleCnt="0"/>
      <dgm:spPr/>
    </dgm:pt>
    <dgm:pt modelId="{5B02263C-3FED-495C-AD78-D7AECF5B0BC3}" type="pres">
      <dgm:prSet presAssocID="{E6903536-A198-407C-8241-7C6A97CF370F}" presName="horzSpace2" presStyleCnt="0"/>
      <dgm:spPr/>
    </dgm:pt>
    <dgm:pt modelId="{2491E353-C405-49C3-B5F9-220676215F66}" type="pres">
      <dgm:prSet presAssocID="{E6903536-A198-407C-8241-7C6A97CF370F}" presName="tx2" presStyleLbl="revTx" presStyleIdx="4" presStyleCnt="7" custScaleY="26616"/>
      <dgm:spPr/>
    </dgm:pt>
    <dgm:pt modelId="{A846D86B-754A-485B-BB03-5F90EE75EE3E}" type="pres">
      <dgm:prSet presAssocID="{E6903536-A198-407C-8241-7C6A97CF370F}" presName="vert2" presStyleCnt="0"/>
      <dgm:spPr/>
    </dgm:pt>
    <dgm:pt modelId="{FCAD74CC-93D8-4430-85CC-BBB114938F0E}" type="pres">
      <dgm:prSet presAssocID="{E6903536-A198-407C-8241-7C6A97CF370F}" presName="thinLine2b" presStyleLbl="callout" presStyleIdx="3" presStyleCnt="6"/>
      <dgm:spPr/>
    </dgm:pt>
    <dgm:pt modelId="{0152A60B-7E94-4719-B577-690B42670EE8}" type="pres">
      <dgm:prSet presAssocID="{E6903536-A198-407C-8241-7C6A97CF370F}" presName="vertSpace2b" presStyleCnt="0"/>
      <dgm:spPr/>
    </dgm:pt>
    <dgm:pt modelId="{8FC597BE-D745-44DB-8B43-6FB7604E18AB}" type="pres">
      <dgm:prSet presAssocID="{56F6C32D-0344-45DE-924C-DDB327C19D6F}" presName="horz2" presStyleCnt="0"/>
      <dgm:spPr/>
    </dgm:pt>
    <dgm:pt modelId="{D87CCF7E-6C0E-4F87-AB91-228B304537E3}" type="pres">
      <dgm:prSet presAssocID="{56F6C32D-0344-45DE-924C-DDB327C19D6F}" presName="horzSpace2" presStyleCnt="0"/>
      <dgm:spPr/>
    </dgm:pt>
    <dgm:pt modelId="{C804BAC6-131D-4A05-86DA-99FE1B54DF75}" type="pres">
      <dgm:prSet presAssocID="{56F6C32D-0344-45DE-924C-DDB327C19D6F}" presName="tx2" presStyleLbl="revTx" presStyleIdx="5" presStyleCnt="7" custScaleY="26288"/>
      <dgm:spPr/>
    </dgm:pt>
    <dgm:pt modelId="{0C976CA4-48B6-4578-9B61-CA886299F422}" type="pres">
      <dgm:prSet presAssocID="{56F6C32D-0344-45DE-924C-DDB327C19D6F}" presName="vert2" presStyleCnt="0"/>
      <dgm:spPr/>
    </dgm:pt>
    <dgm:pt modelId="{D7865FDD-3CC3-443C-B2FA-011D909DE552}" type="pres">
      <dgm:prSet presAssocID="{56F6C32D-0344-45DE-924C-DDB327C19D6F}" presName="thinLine2b" presStyleLbl="callout" presStyleIdx="4" presStyleCnt="6"/>
      <dgm:spPr/>
    </dgm:pt>
    <dgm:pt modelId="{EBD5936F-9FEC-4CA6-8B2C-F38963668815}" type="pres">
      <dgm:prSet presAssocID="{56F6C32D-0344-45DE-924C-DDB327C19D6F}" presName="vertSpace2b" presStyleCnt="0"/>
      <dgm:spPr/>
    </dgm:pt>
    <dgm:pt modelId="{BB70219A-98AF-4B8D-A0F0-445DAE5FE48E}" type="pres">
      <dgm:prSet presAssocID="{3BA6BFC7-F72A-4A0F-A8E9-C6760121B058}" presName="horz2" presStyleCnt="0"/>
      <dgm:spPr/>
    </dgm:pt>
    <dgm:pt modelId="{EAC76F8B-6912-4938-B132-5A596C517B65}" type="pres">
      <dgm:prSet presAssocID="{3BA6BFC7-F72A-4A0F-A8E9-C6760121B058}" presName="horzSpace2" presStyleCnt="0"/>
      <dgm:spPr/>
    </dgm:pt>
    <dgm:pt modelId="{93610E99-C107-4EBD-A73B-C66FA8236BF1}" type="pres">
      <dgm:prSet presAssocID="{3BA6BFC7-F72A-4A0F-A8E9-C6760121B058}" presName="tx2" presStyleLbl="revTx" presStyleIdx="6" presStyleCnt="7"/>
      <dgm:spPr/>
    </dgm:pt>
    <dgm:pt modelId="{6E3369C4-0F71-454D-8C5B-E17DD062BED3}" type="pres">
      <dgm:prSet presAssocID="{3BA6BFC7-F72A-4A0F-A8E9-C6760121B058}" presName="vert2" presStyleCnt="0"/>
      <dgm:spPr/>
    </dgm:pt>
    <dgm:pt modelId="{36792D24-C1AE-48D7-9DF1-45C279CFF594}" type="pres">
      <dgm:prSet presAssocID="{3BA6BFC7-F72A-4A0F-A8E9-C6760121B058}" presName="thinLine2b" presStyleLbl="callout" presStyleIdx="5" presStyleCnt="6"/>
      <dgm:spPr/>
    </dgm:pt>
    <dgm:pt modelId="{C1FC3E0A-ED17-4A7A-9A03-A98EB7C760FE}" type="pres">
      <dgm:prSet presAssocID="{3BA6BFC7-F72A-4A0F-A8E9-C6760121B058}" presName="vertSpace2b" presStyleCnt="0"/>
      <dgm:spPr/>
    </dgm:pt>
  </dgm:ptLst>
  <dgm:cxnLst>
    <dgm:cxn modelId="{A9F60109-F645-4530-88B4-0FC5321D4152}" srcId="{9A06B0CA-F4E2-4D98-A93E-D1A4690E3F52}" destId="{9C369324-87A2-408E-BD41-4DE9C24DFDAA}" srcOrd="1" destOrd="0" parTransId="{6FB2914D-D39F-4051-8873-F34F349457DD}" sibTransId="{4D18F3D1-4090-4909-9006-F6EEAE3275E6}"/>
    <dgm:cxn modelId="{B0370F1B-F62B-4DA3-9B97-67945EAA5C57}" type="presOf" srcId="{56F6C32D-0344-45DE-924C-DDB327C19D6F}" destId="{C804BAC6-131D-4A05-86DA-99FE1B54DF75}" srcOrd="0" destOrd="0" presId="urn:microsoft.com/office/officeart/2008/layout/LinedList"/>
    <dgm:cxn modelId="{AA60862D-80DA-4E89-960B-CDEFE38A8DD4}" srcId="{9A06B0CA-F4E2-4D98-A93E-D1A4690E3F52}" destId="{3BA6BFC7-F72A-4A0F-A8E9-C6760121B058}" srcOrd="5" destOrd="0" parTransId="{A75BD72B-85F2-44F4-8CC1-508F6C9713DA}" sibTransId="{5314A4C7-566A-4B64-AB61-96554B46FFF5}"/>
    <dgm:cxn modelId="{31568C32-B58A-416C-87C7-78B0282C1731}" type="presOf" srcId="{9C369324-87A2-408E-BD41-4DE9C24DFDAA}" destId="{C7745F3E-CFBE-4139-AB21-AEA371E88A03}" srcOrd="0" destOrd="0" presId="urn:microsoft.com/office/officeart/2008/layout/LinedList"/>
    <dgm:cxn modelId="{C812A14D-6A79-48D6-8C99-E8CFEFA7E899}" type="presOf" srcId="{137C1951-E7DB-4619-8E30-1235C123420B}" destId="{9FFCA63F-8096-4D13-9884-A0077F10C2E3}" srcOrd="0" destOrd="0" presId="urn:microsoft.com/office/officeart/2008/layout/LinedList"/>
    <dgm:cxn modelId="{971FFC50-B03E-499F-B627-9A9910E29022}" type="presOf" srcId="{3BA6BFC7-F72A-4A0F-A8E9-C6760121B058}" destId="{93610E99-C107-4EBD-A73B-C66FA8236BF1}" srcOrd="0" destOrd="0" presId="urn:microsoft.com/office/officeart/2008/layout/LinedList"/>
    <dgm:cxn modelId="{69F32B56-EDBD-44A7-A78A-4CE326773D68}" srcId="{9A06B0CA-F4E2-4D98-A93E-D1A4690E3F52}" destId="{E6903536-A198-407C-8241-7C6A97CF370F}" srcOrd="3" destOrd="0" parTransId="{554ABBB8-F7CC-4E31-ADD9-4FB0847081E3}" sibTransId="{053EA9DD-5AE3-47E9-8A43-510243D9737A}"/>
    <dgm:cxn modelId="{AD33A357-6039-4904-BBD3-A4CB26C7A4A0}" srcId="{9A06B0CA-F4E2-4D98-A93E-D1A4690E3F52}" destId="{56F6C32D-0344-45DE-924C-DDB327C19D6F}" srcOrd="4" destOrd="0" parTransId="{9252DB65-41F5-4045-ABE0-F95774F8687E}" sibTransId="{25B8A385-3914-4F97-AF79-52D580160771}"/>
    <dgm:cxn modelId="{9817CE58-583E-4F6A-95EC-DC4DFDDD0758}" type="presOf" srcId="{9A06B0CA-F4E2-4D98-A93E-D1A4690E3F52}" destId="{CCBBC248-B196-4214-8F10-CFDAB3574A0A}" srcOrd="0" destOrd="0" presId="urn:microsoft.com/office/officeart/2008/layout/LinedList"/>
    <dgm:cxn modelId="{6DAD9E8B-5350-4D1E-A833-CD9874B3B1D4}" srcId="{9A06B0CA-F4E2-4D98-A93E-D1A4690E3F52}" destId="{7C8641DC-062A-46E0-89E4-759B87825E83}" srcOrd="2" destOrd="0" parTransId="{9170B50D-EB98-489C-AF9A-1021C2DCF762}" sibTransId="{2472DDAC-80DC-43AC-91A6-3E406EBD666E}"/>
    <dgm:cxn modelId="{B0634FA3-F175-41CD-AABE-F73B1EE07F8C}" type="presOf" srcId="{E6903536-A198-407C-8241-7C6A97CF370F}" destId="{2491E353-C405-49C3-B5F9-220676215F66}" srcOrd="0" destOrd="0" presId="urn:microsoft.com/office/officeart/2008/layout/LinedList"/>
    <dgm:cxn modelId="{F9553EBA-9F4B-4EB5-B13F-155DBA9A1CB4}" srcId="{9A06B0CA-F4E2-4D98-A93E-D1A4690E3F52}" destId="{7BB9F267-B051-495E-8FB0-41E978118D52}" srcOrd="0" destOrd="0" parTransId="{6E6E251A-4DDB-4707-AC42-499C92BE6428}" sibTransId="{FAF9B8D2-B484-4B28-B043-45707CEF695C}"/>
    <dgm:cxn modelId="{06BD45D2-5C1E-4D89-8E84-EBAB8560FB60}" type="presOf" srcId="{7BB9F267-B051-495E-8FB0-41E978118D52}" destId="{76B287FE-05F8-4EA2-A2E7-06D76B66BFF7}" srcOrd="0" destOrd="0" presId="urn:microsoft.com/office/officeart/2008/layout/LinedList"/>
    <dgm:cxn modelId="{0EFA6AD4-E434-4ECD-99A6-FC823897BD91}" type="presOf" srcId="{7C8641DC-062A-46E0-89E4-759B87825E83}" destId="{271F3DA8-FBAB-49DB-9767-284DFF91E8D0}" srcOrd="0" destOrd="0" presId="urn:microsoft.com/office/officeart/2008/layout/LinedList"/>
    <dgm:cxn modelId="{1A7EBBFD-627F-4AD0-AC25-A198C402CFE6}" srcId="{137C1951-E7DB-4619-8E30-1235C123420B}" destId="{9A06B0CA-F4E2-4D98-A93E-D1A4690E3F52}" srcOrd="0" destOrd="0" parTransId="{1077A625-A016-49FF-8228-6996585F7903}" sibTransId="{5AD60E55-BC2A-4C7F-AF07-E2B19A1A8BAB}"/>
    <dgm:cxn modelId="{15F3C739-F742-4B1E-A0F3-5301366E3B59}" type="presParOf" srcId="{9FFCA63F-8096-4D13-9884-A0077F10C2E3}" destId="{4BAB7147-E550-4B0C-A285-CFAD616C72A3}" srcOrd="0" destOrd="0" presId="urn:microsoft.com/office/officeart/2008/layout/LinedList"/>
    <dgm:cxn modelId="{08FBCA1D-60B6-4EA4-AC23-D4FB35A7AD36}" type="presParOf" srcId="{9FFCA63F-8096-4D13-9884-A0077F10C2E3}" destId="{04D45A10-E287-4B4E-A272-AA28B41DDC92}" srcOrd="1" destOrd="0" presId="urn:microsoft.com/office/officeart/2008/layout/LinedList"/>
    <dgm:cxn modelId="{842B2BAE-410D-45A5-8D94-2C010206C7F6}" type="presParOf" srcId="{04D45A10-E287-4B4E-A272-AA28B41DDC92}" destId="{CCBBC248-B196-4214-8F10-CFDAB3574A0A}" srcOrd="0" destOrd="0" presId="urn:microsoft.com/office/officeart/2008/layout/LinedList"/>
    <dgm:cxn modelId="{99654800-1244-48FA-9B3E-823E08798214}" type="presParOf" srcId="{04D45A10-E287-4B4E-A272-AA28B41DDC92}" destId="{27D562FB-1999-44A5-BA96-BAF80F52BE44}" srcOrd="1" destOrd="0" presId="urn:microsoft.com/office/officeart/2008/layout/LinedList"/>
    <dgm:cxn modelId="{E1A291C4-009A-46EF-A5DC-51E6E98ED899}" type="presParOf" srcId="{27D562FB-1999-44A5-BA96-BAF80F52BE44}" destId="{D96E2DA9-0DAC-4FEF-A52F-81C6CA6B20D6}" srcOrd="0" destOrd="0" presId="urn:microsoft.com/office/officeart/2008/layout/LinedList"/>
    <dgm:cxn modelId="{8A9E4AA0-64C5-4124-8651-07E81907D2A9}" type="presParOf" srcId="{27D562FB-1999-44A5-BA96-BAF80F52BE44}" destId="{B89F9A5E-7A19-471E-B7F2-E4AAB79B55E2}" srcOrd="1" destOrd="0" presId="urn:microsoft.com/office/officeart/2008/layout/LinedList"/>
    <dgm:cxn modelId="{337E8D64-39B9-4F6B-AD0E-9FCE5C422656}" type="presParOf" srcId="{B89F9A5E-7A19-471E-B7F2-E4AAB79B55E2}" destId="{B1FB833D-B1D7-4E44-A0D4-98371ED8D98B}" srcOrd="0" destOrd="0" presId="urn:microsoft.com/office/officeart/2008/layout/LinedList"/>
    <dgm:cxn modelId="{F9A627E5-2E6A-4CE6-A2B3-1F4A65457F8E}" type="presParOf" srcId="{B89F9A5E-7A19-471E-B7F2-E4AAB79B55E2}" destId="{76B287FE-05F8-4EA2-A2E7-06D76B66BFF7}" srcOrd="1" destOrd="0" presId="urn:microsoft.com/office/officeart/2008/layout/LinedList"/>
    <dgm:cxn modelId="{01D037B5-CEC5-4F95-9AED-9C5730B5550D}" type="presParOf" srcId="{B89F9A5E-7A19-471E-B7F2-E4AAB79B55E2}" destId="{6BE9B3BB-C53E-4049-8368-822B92965E18}" srcOrd="2" destOrd="0" presId="urn:microsoft.com/office/officeart/2008/layout/LinedList"/>
    <dgm:cxn modelId="{EDDA1103-A49A-41F2-B024-62302855FAD6}" type="presParOf" srcId="{27D562FB-1999-44A5-BA96-BAF80F52BE44}" destId="{EDC480BC-B88B-4E7B-91C9-05FBB0FB0345}" srcOrd="2" destOrd="0" presId="urn:microsoft.com/office/officeart/2008/layout/LinedList"/>
    <dgm:cxn modelId="{5FEADD58-370C-4A4D-9A60-4AB33B9CF16C}" type="presParOf" srcId="{27D562FB-1999-44A5-BA96-BAF80F52BE44}" destId="{25021CF3-D0AF-4892-9A9D-72C78E5304C2}" srcOrd="3" destOrd="0" presId="urn:microsoft.com/office/officeart/2008/layout/LinedList"/>
    <dgm:cxn modelId="{CCD3CB9C-ADC9-497A-B464-B7C1295115FF}" type="presParOf" srcId="{27D562FB-1999-44A5-BA96-BAF80F52BE44}" destId="{E8E38E46-6881-4D65-A25F-5226E32B1228}" srcOrd="4" destOrd="0" presId="urn:microsoft.com/office/officeart/2008/layout/LinedList"/>
    <dgm:cxn modelId="{63200D53-64D0-4BE7-9B22-DCBC10358B44}" type="presParOf" srcId="{E8E38E46-6881-4D65-A25F-5226E32B1228}" destId="{E7C21E8E-72F2-49E2-BDB7-1CDD680ED855}" srcOrd="0" destOrd="0" presId="urn:microsoft.com/office/officeart/2008/layout/LinedList"/>
    <dgm:cxn modelId="{2E76C925-1252-4FB8-898A-FBAD30B05FBF}" type="presParOf" srcId="{E8E38E46-6881-4D65-A25F-5226E32B1228}" destId="{C7745F3E-CFBE-4139-AB21-AEA371E88A03}" srcOrd="1" destOrd="0" presId="urn:microsoft.com/office/officeart/2008/layout/LinedList"/>
    <dgm:cxn modelId="{F83732E9-0C30-48B6-A2E6-0E7C5E818A2F}" type="presParOf" srcId="{E8E38E46-6881-4D65-A25F-5226E32B1228}" destId="{21BCAF97-182A-4975-9951-30DAAED49545}" srcOrd="2" destOrd="0" presId="urn:microsoft.com/office/officeart/2008/layout/LinedList"/>
    <dgm:cxn modelId="{E4A9789F-1523-4672-8888-4690CA9D1DFE}" type="presParOf" srcId="{27D562FB-1999-44A5-BA96-BAF80F52BE44}" destId="{762D712C-F763-487B-B1B5-5EB45C272706}" srcOrd="5" destOrd="0" presId="urn:microsoft.com/office/officeart/2008/layout/LinedList"/>
    <dgm:cxn modelId="{EBC29D81-E8D3-49BA-9415-0206B3A8A37C}" type="presParOf" srcId="{27D562FB-1999-44A5-BA96-BAF80F52BE44}" destId="{7BF92F47-19A4-49DD-BFD2-0EC156C2DB98}" srcOrd="6" destOrd="0" presId="urn:microsoft.com/office/officeart/2008/layout/LinedList"/>
    <dgm:cxn modelId="{3044CE84-573B-49C7-9277-ACD9F4E43448}" type="presParOf" srcId="{27D562FB-1999-44A5-BA96-BAF80F52BE44}" destId="{4F092064-8631-4594-A4EA-A3DB0F3E454E}" srcOrd="7" destOrd="0" presId="urn:microsoft.com/office/officeart/2008/layout/LinedList"/>
    <dgm:cxn modelId="{55098176-2F7D-484F-A80A-3EE0336C4A76}" type="presParOf" srcId="{4F092064-8631-4594-A4EA-A3DB0F3E454E}" destId="{BC4701C0-44DB-46DE-B216-AB7FD119809F}" srcOrd="0" destOrd="0" presId="urn:microsoft.com/office/officeart/2008/layout/LinedList"/>
    <dgm:cxn modelId="{C5817ADF-3C6C-4D94-B8EA-53D55E2543A8}" type="presParOf" srcId="{4F092064-8631-4594-A4EA-A3DB0F3E454E}" destId="{271F3DA8-FBAB-49DB-9767-284DFF91E8D0}" srcOrd="1" destOrd="0" presId="urn:microsoft.com/office/officeart/2008/layout/LinedList"/>
    <dgm:cxn modelId="{044C513C-B34C-4C96-9187-9F2846C0BB73}" type="presParOf" srcId="{4F092064-8631-4594-A4EA-A3DB0F3E454E}" destId="{C735255C-D5C0-4BA8-AFDD-AAFCDD965A61}" srcOrd="2" destOrd="0" presId="urn:microsoft.com/office/officeart/2008/layout/LinedList"/>
    <dgm:cxn modelId="{DEE8F359-1E86-4D95-8980-01BC2E2DAD05}" type="presParOf" srcId="{27D562FB-1999-44A5-BA96-BAF80F52BE44}" destId="{CF678F4D-810E-4E8A-97BD-7F4AC66FA882}" srcOrd="8" destOrd="0" presId="urn:microsoft.com/office/officeart/2008/layout/LinedList"/>
    <dgm:cxn modelId="{331C16D2-01BD-4E26-BAFF-A44724C29708}" type="presParOf" srcId="{27D562FB-1999-44A5-BA96-BAF80F52BE44}" destId="{D38B61EF-92BD-4C89-9D6E-04828D772BDA}" srcOrd="9" destOrd="0" presId="urn:microsoft.com/office/officeart/2008/layout/LinedList"/>
    <dgm:cxn modelId="{C6E9AD24-1BB6-4283-8BA3-59964F837711}" type="presParOf" srcId="{27D562FB-1999-44A5-BA96-BAF80F52BE44}" destId="{AAA7AD72-8F28-4788-AE5D-232E9638CEA0}" srcOrd="10" destOrd="0" presId="urn:microsoft.com/office/officeart/2008/layout/LinedList"/>
    <dgm:cxn modelId="{3BA2209C-0B8B-4C6B-929A-02E8F2E71348}" type="presParOf" srcId="{AAA7AD72-8F28-4788-AE5D-232E9638CEA0}" destId="{5B02263C-3FED-495C-AD78-D7AECF5B0BC3}" srcOrd="0" destOrd="0" presId="urn:microsoft.com/office/officeart/2008/layout/LinedList"/>
    <dgm:cxn modelId="{472B083F-8013-47CB-98A8-149885C329A1}" type="presParOf" srcId="{AAA7AD72-8F28-4788-AE5D-232E9638CEA0}" destId="{2491E353-C405-49C3-B5F9-220676215F66}" srcOrd="1" destOrd="0" presId="urn:microsoft.com/office/officeart/2008/layout/LinedList"/>
    <dgm:cxn modelId="{1DEE70F7-1B73-4A42-B903-1804F82A6D73}" type="presParOf" srcId="{AAA7AD72-8F28-4788-AE5D-232E9638CEA0}" destId="{A846D86B-754A-485B-BB03-5F90EE75EE3E}" srcOrd="2" destOrd="0" presId="urn:microsoft.com/office/officeart/2008/layout/LinedList"/>
    <dgm:cxn modelId="{5E8DF9C5-F789-4732-8C28-88BC40DF3450}" type="presParOf" srcId="{27D562FB-1999-44A5-BA96-BAF80F52BE44}" destId="{FCAD74CC-93D8-4430-85CC-BBB114938F0E}" srcOrd="11" destOrd="0" presId="urn:microsoft.com/office/officeart/2008/layout/LinedList"/>
    <dgm:cxn modelId="{3372A48A-8782-49A1-978B-2E47C286BE38}" type="presParOf" srcId="{27D562FB-1999-44A5-BA96-BAF80F52BE44}" destId="{0152A60B-7E94-4719-B577-690B42670EE8}" srcOrd="12" destOrd="0" presId="urn:microsoft.com/office/officeart/2008/layout/LinedList"/>
    <dgm:cxn modelId="{81D1B82F-9A79-4CBE-837D-DE9257B163BD}" type="presParOf" srcId="{27D562FB-1999-44A5-BA96-BAF80F52BE44}" destId="{8FC597BE-D745-44DB-8B43-6FB7604E18AB}" srcOrd="13" destOrd="0" presId="urn:microsoft.com/office/officeart/2008/layout/LinedList"/>
    <dgm:cxn modelId="{CE1492D6-4A0B-42FF-9F95-49D2C71DE1DB}" type="presParOf" srcId="{8FC597BE-D745-44DB-8B43-6FB7604E18AB}" destId="{D87CCF7E-6C0E-4F87-AB91-228B304537E3}" srcOrd="0" destOrd="0" presId="urn:microsoft.com/office/officeart/2008/layout/LinedList"/>
    <dgm:cxn modelId="{6CD45225-07C2-4E9E-92B7-DDABA9A0522E}" type="presParOf" srcId="{8FC597BE-D745-44DB-8B43-6FB7604E18AB}" destId="{C804BAC6-131D-4A05-86DA-99FE1B54DF75}" srcOrd="1" destOrd="0" presId="urn:microsoft.com/office/officeart/2008/layout/LinedList"/>
    <dgm:cxn modelId="{DB748149-BA22-4228-9FF8-D97E4378EC9E}" type="presParOf" srcId="{8FC597BE-D745-44DB-8B43-6FB7604E18AB}" destId="{0C976CA4-48B6-4578-9B61-CA886299F422}" srcOrd="2" destOrd="0" presId="urn:microsoft.com/office/officeart/2008/layout/LinedList"/>
    <dgm:cxn modelId="{E56BB7A1-DA19-49A0-BA21-A6C93740C56D}" type="presParOf" srcId="{27D562FB-1999-44A5-BA96-BAF80F52BE44}" destId="{D7865FDD-3CC3-443C-B2FA-011D909DE552}" srcOrd="14" destOrd="0" presId="urn:microsoft.com/office/officeart/2008/layout/LinedList"/>
    <dgm:cxn modelId="{43F17488-DDC1-47AC-93B4-28631D8FA788}" type="presParOf" srcId="{27D562FB-1999-44A5-BA96-BAF80F52BE44}" destId="{EBD5936F-9FEC-4CA6-8B2C-F38963668815}" srcOrd="15" destOrd="0" presId="urn:microsoft.com/office/officeart/2008/layout/LinedList"/>
    <dgm:cxn modelId="{40AECF14-61D6-4551-987C-5E2BD1E91409}" type="presParOf" srcId="{27D562FB-1999-44A5-BA96-BAF80F52BE44}" destId="{BB70219A-98AF-4B8D-A0F0-445DAE5FE48E}" srcOrd="16" destOrd="0" presId="urn:microsoft.com/office/officeart/2008/layout/LinedList"/>
    <dgm:cxn modelId="{50E3B786-11C8-434B-AE8B-B16E90817E9B}" type="presParOf" srcId="{BB70219A-98AF-4B8D-A0F0-445DAE5FE48E}" destId="{EAC76F8B-6912-4938-B132-5A596C517B65}" srcOrd="0" destOrd="0" presId="urn:microsoft.com/office/officeart/2008/layout/LinedList"/>
    <dgm:cxn modelId="{F704B1F6-5CCF-4541-B26E-157BE7A4094C}" type="presParOf" srcId="{BB70219A-98AF-4B8D-A0F0-445DAE5FE48E}" destId="{93610E99-C107-4EBD-A73B-C66FA8236BF1}" srcOrd="1" destOrd="0" presId="urn:microsoft.com/office/officeart/2008/layout/LinedList"/>
    <dgm:cxn modelId="{751F3FD5-74F3-4A95-BFF1-196BD229EDB7}" type="presParOf" srcId="{BB70219A-98AF-4B8D-A0F0-445DAE5FE48E}" destId="{6E3369C4-0F71-454D-8C5B-E17DD062BED3}" srcOrd="2" destOrd="0" presId="urn:microsoft.com/office/officeart/2008/layout/LinedList"/>
    <dgm:cxn modelId="{709770DF-8DB1-4A64-BD78-E6619ABF4A04}" type="presParOf" srcId="{27D562FB-1999-44A5-BA96-BAF80F52BE44}" destId="{36792D24-C1AE-48D7-9DF1-45C279CFF594}" srcOrd="17" destOrd="0" presId="urn:microsoft.com/office/officeart/2008/layout/LinedList"/>
    <dgm:cxn modelId="{B745AC22-E209-475D-8A4F-3E469F7C841D}" type="presParOf" srcId="{27D562FB-1999-44A5-BA96-BAF80F52BE44}" destId="{C1FC3E0A-ED17-4A7A-9A03-A98EB7C760FE}" srcOrd="18"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EC6DE65-57C9-46BA-AC76-7AAF00ECDB28}"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IN"/>
        </a:p>
      </dgm:t>
    </dgm:pt>
    <dgm:pt modelId="{06FD135C-B591-4B7C-8705-79E852A242E8}">
      <dgm:prSet phldrT="[Text]" phldr="0"/>
      <dgm:spPr/>
      <dgm:t>
        <a:bodyPr/>
        <a:lstStyle/>
        <a:p>
          <a:r>
            <a:rPr lang="en-US" dirty="0"/>
            <a:t>Discovery</a:t>
          </a:r>
          <a:endParaRPr lang="en-IN" dirty="0"/>
        </a:p>
      </dgm:t>
    </dgm:pt>
    <dgm:pt modelId="{215A380F-5FD2-4FE1-AFBB-9E2803795622}" type="parTrans" cxnId="{2E17CFB1-0238-48B6-87F7-B7A3921894F5}">
      <dgm:prSet/>
      <dgm:spPr/>
      <dgm:t>
        <a:bodyPr/>
        <a:lstStyle/>
        <a:p>
          <a:endParaRPr lang="en-IN"/>
        </a:p>
      </dgm:t>
    </dgm:pt>
    <dgm:pt modelId="{0105CF0A-7EA4-4FB4-B2C2-FD90F9335309}" type="sibTrans" cxnId="{2E17CFB1-0238-48B6-87F7-B7A3921894F5}">
      <dgm:prSet/>
      <dgm:spPr/>
      <dgm:t>
        <a:bodyPr/>
        <a:lstStyle/>
        <a:p>
          <a:endParaRPr lang="en-IN"/>
        </a:p>
      </dgm:t>
    </dgm:pt>
    <dgm:pt modelId="{EF4B00A7-097D-4C1A-B88F-802653E464D3}">
      <dgm:prSet/>
      <dgm:spPr/>
      <dgm:t>
        <a:bodyPr/>
        <a:lstStyle/>
        <a:p>
          <a:r>
            <a:rPr lang="en-IN">
              <a:ea typeface="Tahoma" panose="020B0604030504040204" pitchFamily="34" charset="0"/>
              <a:cs typeface="Tahoma" panose="020B0604030504040204" pitchFamily="34" charset="0"/>
            </a:rPr>
            <a:t>Communication</a:t>
          </a:r>
          <a:endParaRPr lang="en-IN" dirty="0">
            <a:ea typeface="Tahoma" panose="020B0604030504040204" pitchFamily="34" charset="0"/>
            <a:cs typeface="Tahoma" panose="020B0604030504040204" pitchFamily="34" charset="0"/>
          </a:endParaRPr>
        </a:p>
      </dgm:t>
    </dgm:pt>
    <dgm:pt modelId="{CB71654B-FF44-4EB4-A823-86CBD0C8D0DE}" type="parTrans" cxnId="{9BD51F28-8921-493D-A1D5-8DD72B88C5C8}">
      <dgm:prSet/>
      <dgm:spPr/>
      <dgm:t>
        <a:bodyPr/>
        <a:lstStyle/>
        <a:p>
          <a:endParaRPr lang="en-IN"/>
        </a:p>
      </dgm:t>
    </dgm:pt>
    <dgm:pt modelId="{8FAC0DD4-00F0-4EAF-8946-87BC3DE6B8D2}" type="sibTrans" cxnId="{9BD51F28-8921-493D-A1D5-8DD72B88C5C8}">
      <dgm:prSet/>
      <dgm:spPr/>
      <dgm:t>
        <a:bodyPr/>
        <a:lstStyle/>
        <a:p>
          <a:endParaRPr lang="en-IN"/>
        </a:p>
      </dgm:t>
    </dgm:pt>
    <dgm:pt modelId="{E6480F8F-D0E1-4A61-8EE0-9B30ADBBB3A9}">
      <dgm:prSet phldrT="[Text]" phldr="0"/>
      <dgm:spPr/>
      <dgm:t>
        <a:bodyPr/>
        <a:lstStyle/>
        <a:p>
          <a:r>
            <a:rPr lang="en-IN">
              <a:ea typeface="Tahoma" panose="020B0604030504040204" pitchFamily="34" charset="0"/>
              <a:cs typeface="Tahoma" panose="020B0604030504040204" pitchFamily="34" charset="0"/>
            </a:rPr>
            <a:t>Authentication</a:t>
          </a:r>
          <a:endParaRPr lang="en-IN" dirty="0"/>
        </a:p>
      </dgm:t>
    </dgm:pt>
    <dgm:pt modelId="{7187BDAB-4636-487F-82B9-1AB10D87A485}" type="parTrans" cxnId="{189A22B5-35A2-4B60-852B-2AF1B2069E22}">
      <dgm:prSet/>
      <dgm:spPr/>
      <dgm:t>
        <a:bodyPr/>
        <a:lstStyle/>
        <a:p>
          <a:endParaRPr lang="en-IN"/>
        </a:p>
      </dgm:t>
    </dgm:pt>
    <dgm:pt modelId="{4F44547A-F45F-47CA-B2FE-A1253DAA4B4E}" type="sibTrans" cxnId="{189A22B5-35A2-4B60-852B-2AF1B2069E22}">
      <dgm:prSet/>
      <dgm:spPr/>
      <dgm:t>
        <a:bodyPr/>
        <a:lstStyle/>
        <a:p>
          <a:endParaRPr lang="en-IN"/>
        </a:p>
      </dgm:t>
    </dgm:pt>
    <dgm:pt modelId="{18FF96EE-0D0B-455B-8E25-8E0DCF8EF65B}" type="pres">
      <dgm:prSet presAssocID="{2EC6DE65-57C9-46BA-AC76-7AAF00ECDB28}" presName="Name0" presStyleCnt="0">
        <dgm:presLayoutVars>
          <dgm:dir/>
          <dgm:resizeHandles val="exact"/>
        </dgm:presLayoutVars>
      </dgm:prSet>
      <dgm:spPr/>
    </dgm:pt>
    <dgm:pt modelId="{83667B89-30CE-42E4-A416-E59BB1DFCFF7}" type="pres">
      <dgm:prSet presAssocID="{06FD135C-B591-4B7C-8705-79E852A242E8}" presName="compNode" presStyleCnt="0"/>
      <dgm:spPr/>
    </dgm:pt>
    <dgm:pt modelId="{0F9FD317-A55F-49DF-9410-C5378BE7A62E}" type="pres">
      <dgm:prSet presAssocID="{06FD135C-B591-4B7C-8705-79E852A242E8}" presName="pictRect" presStyleLbl="node1" presStyleIdx="0" presStyleCnt="3"/>
      <dgm:spPr>
        <a:blipFill dpi="0" rotWithShape="1">
          <a:blip xmlns:r="http://schemas.openxmlformats.org/officeDocument/2006/relationships" r:embed="rId1"/>
          <a:srcRect/>
          <a:stretch>
            <a:fillRect l="-11244" r="-419"/>
          </a:stretch>
        </a:blipFill>
      </dgm:spPr>
    </dgm:pt>
    <dgm:pt modelId="{274FC982-B51E-4064-87CC-D8278673166D}" type="pres">
      <dgm:prSet presAssocID="{06FD135C-B591-4B7C-8705-79E852A242E8}" presName="textRect" presStyleLbl="revTx" presStyleIdx="0" presStyleCnt="3">
        <dgm:presLayoutVars>
          <dgm:bulletEnabled val="1"/>
        </dgm:presLayoutVars>
      </dgm:prSet>
      <dgm:spPr/>
    </dgm:pt>
    <dgm:pt modelId="{C0DA6FC2-C9C6-426C-BA18-6C1E3A589D52}" type="pres">
      <dgm:prSet presAssocID="{0105CF0A-7EA4-4FB4-B2C2-FD90F9335309}" presName="sibTrans" presStyleLbl="sibTrans2D1" presStyleIdx="0" presStyleCnt="0"/>
      <dgm:spPr/>
    </dgm:pt>
    <dgm:pt modelId="{36CDE6F1-560A-4A7C-B9F1-6594E058B497}" type="pres">
      <dgm:prSet presAssocID="{E6480F8F-D0E1-4A61-8EE0-9B30ADBBB3A9}" presName="compNode" presStyleCnt="0"/>
      <dgm:spPr/>
    </dgm:pt>
    <dgm:pt modelId="{DC2B72E6-960B-41E5-9254-6311468CDB6E}" type="pres">
      <dgm:prSet presAssocID="{E6480F8F-D0E1-4A61-8EE0-9B30ADBBB3A9}" presName="pictRect" presStyleLbl="node1" presStyleIdx="1" presStyleCnt="3"/>
      <dgm:spPr>
        <a:blipFill dpi="0" rotWithShape="1">
          <a:blip xmlns:r="http://schemas.openxmlformats.org/officeDocument/2006/relationships" r:embed="rId2"/>
          <a:srcRect/>
          <a:stretch>
            <a:fillRect l="-11245" r="-216"/>
          </a:stretch>
        </a:blipFill>
      </dgm:spPr>
    </dgm:pt>
    <dgm:pt modelId="{54E109CB-BE8E-479D-B052-ACA2D55CA932}" type="pres">
      <dgm:prSet presAssocID="{E6480F8F-D0E1-4A61-8EE0-9B30ADBBB3A9}" presName="textRect" presStyleLbl="revTx" presStyleIdx="1" presStyleCnt="3">
        <dgm:presLayoutVars>
          <dgm:bulletEnabled val="1"/>
        </dgm:presLayoutVars>
      </dgm:prSet>
      <dgm:spPr/>
    </dgm:pt>
    <dgm:pt modelId="{2FAF45E8-7581-400C-B03B-CA4650F1775D}" type="pres">
      <dgm:prSet presAssocID="{4F44547A-F45F-47CA-B2FE-A1253DAA4B4E}" presName="sibTrans" presStyleLbl="sibTrans2D1" presStyleIdx="0" presStyleCnt="0"/>
      <dgm:spPr/>
    </dgm:pt>
    <dgm:pt modelId="{194E345F-30FA-4335-9E31-81CF05AFF78C}" type="pres">
      <dgm:prSet presAssocID="{EF4B00A7-097D-4C1A-B88F-802653E464D3}" presName="compNode" presStyleCnt="0"/>
      <dgm:spPr/>
    </dgm:pt>
    <dgm:pt modelId="{F3DE895E-18BC-46AB-8D01-F457B91DADDF}" type="pres">
      <dgm:prSet presAssocID="{EF4B00A7-097D-4C1A-B88F-802653E464D3}" presName="pictRect" presStyleLbl="node1" presStyleIdx="2" presStyleCnt="3"/>
      <dgm:spPr>
        <a:blipFill dpi="0" rotWithShape="1">
          <a:blip xmlns:r="http://schemas.openxmlformats.org/officeDocument/2006/relationships" r:embed="rId3"/>
          <a:srcRect/>
          <a:stretch>
            <a:fillRect l="-125" r="1303"/>
          </a:stretch>
        </a:blipFill>
      </dgm:spPr>
    </dgm:pt>
    <dgm:pt modelId="{6678396C-9031-4542-994C-9737F2C6DF8E}" type="pres">
      <dgm:prSet presAssocID="{EF4B00A7-097D-4C1A-B88F-802653E464D3}" presName="textRect" presStyleLbl="revTx" presStyleIdx="2" presStyleCnt="3">
        <dgm:presLayoutVars>
          <dgm:bulletEnabled val="1"/>
        </dgm:presLayoutVars>
      </dgm:prSet>
      <dgm:spPr/>
    </dgm:pt>
  </dgm:ptLst>
  <dgm:cxnLst>
    <dgm:cxn modelId="{64D2260E-B494-4DFE-B2BE-95B8BEA0733B}" type="presOf" srcId="{4F44547A-F45F-47CA-B2FE-A1253DAA4B4E}" destId="{2FAF45E8-7581-400C-B03B-CA4650F1775D}" srcOrd="0" destOrd="0" presId="urn:microsoft.com/office/officeart/2005/8/layout/pList1"/>
    <dgm:cxn modelId="{9BD51F28-8921-493D-A1D5-8DD72B88C5C8}" srcId="{2EC6DE65-57C9-46BA-AC76-7AAF00ECDB28}" destId="{EF4B00A7-097D-4C1A-B88F-802653E464D3}" srcOrd="2" destOrd="0" parTransId="{CB71654B-FF44-4EB4-A823-86CBD0C8D0DE}" sibTransId="{8FAC0DD4-00F0-4EAF-8946-87BC3DE6B8D2}"/>
    <dgm:cxn modelId="{ECE13D3E-6419-4D14-A4D5-EEE0C3F0D226}" type="presOf" srcId="{06FD135C-B591-4B7C-8705-79E852A242E8}" destId="{274FC982-B51E-4064-87CC-D8278673166D}" srcOrd="0" destOrd="0" presId="urn:microsoft.com/office/officeart/2005/8/layout/pList1"/>
    <dgm:cxn modelId="{C43E129F-A25C-4E80-BB97-068AAD8F8678}" type="presOf" srcId="{E6480F8F-D0E1-4A61-8EE0-9B30ADBBB3A9}" destId="{54E109CB-BE8E-479D-B052-ACA2D55CA932}" srcOrd="0" destOrd="0" presId="urn:microsoft.com/office/officeart/2005/8/layout/pList1"/>
    <dgm:cxn modelId="{2BD327A6-1BFC-4786-AF35-407B621342BD}" type="presOf" srcId="{EF4B00A7-097D-4C1A-B88F-802653E464D3}" destId="{6678396C-9031-4542-994C-9737F2C6DF8E}" srcOrd="0" destOrd="0" presId="urn:microsoft.com/office/officeart/2005/8/layout/pList1"/>
    <dgm:cxn modelId="{2E17CFB1-0238-48B6-87F7-B7A3921894F5}" srcId="{2EC6DE65-57C9-46BA-AC76-7AAF00ECDB28}" destId="{06FD135C-B591-4B7C-8705-79E852A242E8}" srcOrd="0" destOrd="0" parTransId="{215A380F-5FD2-4FE1-AFBB-9E2803795622}" sibTransId="{0105CF0A-7EA4-4FB4-B2C2-FD90F9335309}"/>
    <dgm:cxn modelId="{189A22B5-35A2-4B60-852B-2AF1B2069E22}" srcId="{2EC6DE65-57C9-46BA-AC76-7AAF00ECDB28}" destId="{E6480F8F-D0E1-4A61-8EE0-9B30ADBBB3A9}" srcOrd="1" destOrd="0" parTransId="{7187BDAB-4636-487F-82B9-1AB10D87A485}" sibTransId="{4F44547A-F45F-47CA-B2FE-A1253DAA4B4E}"/>
    <dgm:cxn modelId="{B5C824DD-D77C-4EE6-BAE6-6557857D372A}" type="presOf" srcId="{2EC6DE65-57C9-46BA-AC76-7AAF00ECDB28}" destId="{18FF96EE-0D0B-455B-8E25-8E0DCF8EF65B}" srcOrd="0" destOrd="0" presId="urn:microsoft.com/office/officeart/2005/8/layout/pList1"/>
    <dgm:cxn modelId="{6ECAF6E5-023E-45DC-ABF2-9B13856000F8}" type="presOf" srcId="{0105CF0A-7EA4-4FB4-B2C2-FD90F9335309}" destId="{C0DA6FC2-C9C6-426C-BA18-6C1E3A589D52}" srcOrd="0" destOrd="0" presId="urn:microsoft.com/office/officeart/2005/8/layout/pList1"/>
    <dgm:cxn modelId="{90F93C0F-519A-4918-80E1-8EFE76630183}" type="presParOf" srcId="{18FF96EE-0D0B-455B-8E25-8E0DCF8EF65B}" destId="{83667B89-30CE-42E4-A416-E59BB1DFCFF7}" srcOrd="0" destOrd="0" presId="urn:microsoft.com/office/officeart/2005/8/layout/pList1"/>
    <dgm:cxn modelId="{A68A0A04-BE4D-490D-890F-031616364BFE}" type="presParOf" srcId="{83667B89-30CE-42E4-A416-E59BB1DFCFF7}" destId="{0F9FD317-A55F-49DF-9410-C5378BE7A62E}" srcOrd="0" destOrd="0" presId="urn:microsoft.com/office/officeart/2005/8/layout/pList1"/>
    <dgm:cxn modelId="{3DD0B1D0-3671-490A-B959-1A7839436BAB}" type="presParOf" srcId="{83667B89-30CE-42E4-A416-E59BB1DFCFF7}" destId="{274FC982-B51E-4064-87CC-D8278673166D}" srcOrd="1" destOrd="0" presId="urn:microsoft.com/office/officeart/2005/8/layout/pList1"/>
    <dgm:cxn modelId="{0EE7F9EC-0AB8-475B-AB3C-924688D16762}" type="presParOf" srcId="{18FF96EE-0D0B-455B-8E25-8E0DCF8EF65B}" destId="{C0DA6FC2-C9C6-426C-BA18-6C1E3A589D52}" srcOrd="1" destOrd="0" presId="urn:microsoft.com/office/officeart/2005/8/layout/pList1"/>
    <dgm:cxn modelId="{2DE6AE85-1C5B-47B2-B4E9-CB56C98740E8}" type="presParOf" srcId="{18FF96EE-0D0B-455B-8E25-8E0DCF8EF65B}" destId="{36CDE6F1-560A-4A7C-B9F1-6594E058B497}" srcOrd="2" destOrd="0" presId="urn:microsoft.com/office/officeart/2005/8/layout/pList1"/>
    <dgm:cxn modelId="{CD505357-165D-424E-9353-2A63E80C2D29}" type="presParOf" srcId="{36CDE6F1-560A-4A7C-B9F1-6594E058B497}" destId="{DC2B72E6-960B-41E5-9254-6311468CDB6E}" srcOrd="0" destOrd="0" presId="urn:microsoft.com/office/officeart/2005/8/layout/pList1"/>
    <dgm:cxn modelId="{8454FFC5-3261-4ADA-A131-7A7BBD2FCE31}" type="presParOf" srcId="{36CDE6F1-560A-4A7C-B9F1-6594E058B497}" destId="{54E109CB-BE8E-479D-B052-ACA2D55CA932}" srcOrd="1" destOrd="0" presId="urn:microsoft.com/office/officeart/2005/8/layout/pList1"/>
    <dgm:cxn modelId="{E62B6D07-5923-4AEB-88E7-444F7683BB8B}" type="presParOf" srcId="{18FF96EE-0D0B-455B-8E25-8E0DCF8EF65B}" destId="{2FAF45E8-7581-400C-B03B-CA4650F1775D}" srcOrd="3" destOrd="0" presId="urn:microsoft.com/office/officeart/2005/8/layout/pList1"/>
    <dgm:cxn modelId="{40BF0FB7-C012-493B-8639-64B3748F2137}" type="presParOf" srcId="{18FF96EE-0D0B-455B-8E25-8E0DCF8EF65B}" destId="{194E345F-30FA-4335-9E31-81CF05AFF78C}" srcOrd="4" destOrd="0" presId="urn:microsoft.com/office/officeart/2005/8/layout/pList1"/>
    <dgm:cxn modelId="{F9DE7C99-7885-443A-AAF2-2307C4AD2CFF}" type="presParOf" srcId="{194E345F-30FA-4335-9E31-81CF05AFF78C}" destId="{F3DE895E-18BC-46AB-8D01-F457B91DADDF}" srcOrd="0" destOrd="0" presId="urn:microsoft.com/office/officeart/2005/8/layout/pList1"/>
    <dgm:cxn modelId="{EF4CD976-743E-4A31-8A6A-CB35591D87E8}" type="presParOf" srcId="{194E345F-30FA-4335-9E31-81CF05AFF78C}" destId="{6678396C-9031-4542-994C-9737F2C6DF8E}"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66739-2BE6-48D3-B4D2-0CDE16D5D9B3}">
      <dsp:nvSpPr>
        <dsp:cNvPr id="0" name=""/>
        <dsp:cNvSpPr/>
      </dsp:nvSpPr>
      <dsp:spPr>
        <a:xfrm>
          <a:off x="333455" y="1514"/>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dirty="0"/>
            <a:t>A2A client</a:t>
          </a:r>
        </a:p>
      </dsp:txBody>
      <dsp:txXfrm>
        <a:off x="333455" y="1514"/>
        <a:ext cx="2284503" cy="1370702"/>
      </dsp:txXfrm>
    </dsp:sp>
    <dsp:sp modelId="{161F2EE5-0B72-4B09-AEAE-FC9C295E8B47}">
      <dsp:nvSpPr>
        <dsp:cNvPr id="0" name=""/>
        <dsp:cNvSpPr/>
      </dsp:nvSpPr>
      <dsp:spPr>
        <a:xfrm>
          <a:off x="2846409" y="1514"/>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dirty="0"/>
            <a:t>A2A server</a:t>
          </a:r>
        </a:p>
      </dsp:txBody>
      <dsp:txXfrm>
        <a:off x="2846409" y="1514"/>
        <a:ext cx="2284503" cy="1370702"/>
      </dsp:txXfrm>
    </dsp:sp>
    <dsp:sp modelId="{32C85F73-B5D8-4B95-92AD-59A7A6697B15}">
      <dsp:nvSpPr>
        <dsp:cNvPr id="0" name=""/>
        <dsp:cNvSpPr/>
      </dsp:nvSpPr>
      <dsp:spPr>
        <a:xfrm>
          <a:off x="5359363" y="1514"/>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a:t>Agent card</a:t>
          </a:r>
        </a:p>
      </dsp:txBody>
      <dsp:txXfrm>
        <a:off x="5359363" y="1514"/>
        <a:ext cx="2284503" cy="1370702"/>
      </dsp:txXfrm>
    </dsp:sp>
    <dsp:sp modelId="{803FE18F-5302-455C-AE30-05598A223901}">
      <dsp:nvSpPr>
        <dsp:cNvPr id="0" name=""/>
        <dsp:cNvSpPr/>
      </dsp:nvSpPr>
      <dsp:spPr>
        <a:xfrm>
          <a:off x="7872316" y="1514"/>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dirty="0"/>
            <a:t>Task</a:t>
          </a:r>
        </a:p>
      </dsp:txBody>
      <dsp:txXfrm>
        <a:off x="7872316" y="1514"/>
        <a:ext cx="2284503" cy="1370702"/>
      </dsp:txXfrm>
    </dsp:sp>
    <dsp:sp modelId="{BB02CA96-2673-4E25-8906-72B1FCA375C3}">
      <dsp:nvSpPr>
        <dsp:cNvPr id="0" name=""/>
        <dsp:cNvSpPr/>
      </dsp:nvSpPr>
      <dsp:spPr>
        <a:xfrm>
          <a:off x="1589932" y="1600666"/>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a:t>Message</a:t>
          </a:r>
        </a:p>
      </dsp:txBody>
      <dsp:txXfrm>
        <a:off x="1589932" y="1600666"/>
        <a:ext cx="2284503" cy="1370702"/>
      </dsp:txXfrm>
    </dsp:sp>
    <dsp:sp modelId="{89206D51-B574-4B19-8450-94A7CD59AF27}">
      <dsp:nvSpPr>
        <dsp:cNvPr id="0" name=""/>
        <dsp:cNvSpPr/>
      </dsp:nvSpPr>
      <dsp:spPr>
        <a:xfrm>
          <a:off x="4102886" y="1600666"/>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a:t>Artifact</a:t>
          </a:r>
        </a:p>
      </dsp:txBody>
      <dsp:txXfrm>
        <a:off x="4102886" y="1600666"/>
        <a:ext cx="2284503" cy="1370702"/>
      </dsp:txXfrm>
    </dsp:sp>
    <dsp:sp modelId="{D77EC46B-8C26-4E8E-A9D9-5E87D74755D6}">
      <dsp:nvSpPr>
        <dsp:cNvPr id="0" name=""/>
        <dsp:cNvSpPr/>
      </dsp:nvSpPr>
      <dsp:spPr>
        <a:xfrm>
          <a:off x="6615840" y="1600666"/>
          <a:ext cx="2284503" cy="137070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Font typeface="Arial" panose="020B0604020202020204" pitchFamily="34" charset="0"/>
            <a:buNone/>
          </a:pPr>
          <a:r>
            <a:rPr lang="en-IN" sz="3800" b="0" i="0" kern="1200"/>
            <a:t>Part</a:t>
          </a:r>
        </a:p>
      </dsp:txBody>
      <dsp:txXfrm>
        <a:off x="6615840" y="1600666"/>
        <a:ext cx="2284503" cy="13707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F6B88E-17D4-4817-BA32-DD36129E9A2F}">
      <dsp:nvSpPr>
        <dsp:cNvPr id="0" name=""/>
        <dsp:cNvSpPr/>
      </dsp:nvSpPr>
      <dsp:spPr>
        <a:xfrm>
          <a:off x="0" y="311353"/>
          <a:ext cx="11262731" cy="909562"/>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113" tIns="437388" rIns="874113" bIns="99568" numCol="1" spcCol="1270" anchor="t" anchorCtr="0">
          <a:noAutofit/>
        </a:bodyPr>
        <a:lstStyle/>
        <a:p>
          <a:pPr marL="114300" lvl="1" indent="-114300" algn="l" defTabSz="622300">
            <a:lnSpc>
              <a:spcPct val="90000"/>
            </a:lnSpc>
            <a:spcBef>
              <a:spcPct val="0"/>
            </a:spcBef>
            <a:spcAft>
              <a:spcPct val="15000"/>
            </a:spcAft>
            <a:buNone/>
          </a:pPr>
          <a:r>
            <a:rPr lang="en-IN" sz="1400" b="0" i="0" kern="1200" dirty="0">
              <a:latin typeface="Arial" panose="020B0604020202020204" pitchFamily="34" charset="0"/>
              <a:cs typeface="Arial" panose="020B0604020202020204" pitchFamily="34" charset="0"/>
            </a:rPr>
            <a:t>The A2A client, also known as the client agent, can be an app, service or other AI agent that delegates requests to remote agents. It uses the Agent2Agent protocol to initiate communication.</a:t>
          </a:r>
          <a:endParaRPr lang="en-IN" sz="1400" kern="1200" dirty="0">
            <a:latin typeface="Arial" panose="020B0604020202020204" pitchFamily="34" charset="0"/>
            <a:cs typeface="Arial" panose="020B0604020202020204" pitchFamily="34" charset="0"/>
          </a:endParaRPr>
        </a:p>
      </dsp:txBody>
      <dsp:txXfrm>
        <a:off x="0" y="311353"/>
        <a:ext cx="11262731" cy="909562"/>
      </dsp:txXfrm>
    </dsp:sp>
    <dsp:sp modelId="{162F16A4-30C2-469E-A1CD-C3EB5538D03C}">
      <dsp:nvSpPr>
        <dsp:cNvPr id="0" name=""/>
        <dsp:cNvSpPr/>
      </dsp:nvSpPr>
      <dsp:spPr>
        <a:xfrm>
          <a:off x="563136" y="1393"/>
          <a:ext cx="7883911" cy="6199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7993" tIns="0" rIns="297993"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IN" sz="1400" b="0" i="0" kern="1200" dirty="0">
              <a:latin typeface="Arial" panose="020B0604020202020204" pitchFamily="34" charset="0"/>
              <a:cs typeface="Arial" panose="020B0604020202020204" pitchFamily="34" charset="0"/>
            </a:rPr>
            <a:t>A2A client </a:t>
          </a:r>
        </a:p>
      </dsp:txBody>
      <dsp:txXfrm>
        <a:off x="593398" y="31655"/>
        <a:ext cx="7823387" cy="559396"/>
      </dsp:txXfrm>
    </dsp:sp>
    <dsp:sp modelId="{E2350E93-0155-4A4B-87EE-51927475AB53}">
      <dsp:nvSpPr>
        <dsp:cNvPr id="0" name=""/>
        <dsp:cNvSpPr/>
      </dsp:nvSpPr>
      <dsp:spPr>
        <a:xfrm>
          <a:off x="0" y="1644275"/>
          <a:ext cx="11262731" cy="909562"/>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113" tIns="437388" rIns="874113" bIns="99568" numCol="1" spcCol="1270" anchor="t" anchorCtr="0">
          <a:noAutofit/>
        </a:bodyPr>
        <a:lstStyle/>
        <a:p>
          <a:pPr marL="114300" lvl="1" indent="-114300" algn="l" defTabSz="622300">
            <a:lnSpc>
              <a:spcPct val="90000"/>
            </a:lnSpc>
            <a:spcBef>
              <a:spcPct val="0"/>
            </a:spcBef>
            <a:spcAft>
              <a:spcPct val="15000"/>
            </a:spcAft>
            <a:buNone/>
          </a:pPr>
          <a:r>
            <a:rPr lang="en-IN" sz="1400" b="0" i="0" kern="1200" dirty="0">
              <a:latin typeface="Arial" panose="020B0604020202020204" pitchFamily="34" charset="0"/>
              <a:cs typeface="Arial" panose="020B0604020202020204" pitchFamily="34" charset="0"/>
            </a:rPr>
            <a:t>The A2A server, also called the remote agent, takes requests, processes tasks and responds with status updates or results. It exposes an HTTP endpoint that’s compatible with the Agent2Agent protocol.</a:t>
          </a:r>
          <a:endParaRPr lang="en-IN" sz="1400" kern="1200" dirty="0">
            <a:latin typeface="Arial" panose="020B0604020202020204" pitchFamily="34" charset="0"/>
            <a:cs typeface="Arial" panose="020B0604020202020204" pitchFamily="34" charset="0"/>
          </a:endParaRPr>
        </a:p>
      </dsp:txBody>
      <dsp:txXfrm>
        <a:off x="0" y="1644275"/>
        <a:ext cx="11262731" cy="909562"/>
      </dsp:txXfrm>
    </dsp:sp>
    <dsp:sp modelId="{DC56AE89-D4E9-44A7-8C50-81AFBB6A827C}">
      <dsp:nvSpPr>
        <dsp:cNvPr id="0" name=""/>
        <dsp:cNvSpPr/>
      </dsp:nvSpPr>
      <dsp:spPr>
        <a:xfrm>
          <a:off x="563136" y="1334315"/>
          <a:ext cx="7883911" cy="6199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7993" tIns="0" rIns="297993"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IN" sz="1400" b="0" i="0" kern="1200" dirty="0">
              <a:latin typeface="Arial" panose="020B0604020202020204" pitchFamily="34" charset="0"/>
              <a:cs typeface="Arial" panose="020B0604020202020204" pitchFamily="34" charset="0"/>
            </a:rPr>
            <a:t>A2A server</a:t>
          </a:r>
        </a:p>
      </dsp:txBody>
      <dsp:txXfrm>
        <a:off x="593398" y="1364577"/>
        <a:ext cx="7823387" cy="559396"/>
      </dsp:txXfrm>
    </dsp:sp>
    <dsp:sp modelId="{E545C735-0EBB-4DC4-BCC6-596F74361DDB}">
      <dsp:nvSpPr>
        <dsp:cNvPr id="0" name=""/>
        <dsp:cNvSpPr/>
      </dsp:nvSpPr>
      <dsp:spPr>
        <a:xfrm>
          <a:off x="0" y="2977198"/>
          <a:ext cx="11262731" cy="1091475"/>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113" tIns="437388" rIns="874113" bIns="99568" numCol="1" spcCol="1270" anchor="t" anchorCtr="0">
          <a:noAutofit/>
        </a:bodyPr>
        <a:lstStyle/>
        <a:p>
          <a:pPr marL="114300" lvl="1" indent="-114300" algn="l" defTabSz="622300">
            <a:lnSpc>
              <a:spcPct val="90000"/>
            </a:lnSpc>
            <a:spcBef>
              <a:spcPct val="0"/>
            </a:spcBef>
            <a:spcAft>
              <a:spcPct val="15000"/>
            </a:spcAft>
            <a:buNone/>
          </a:pPr>
          <a:r>
            <a:rPr lang="en-IN" sz="1400" b="0" i="0" kern="1200">
              <a:latin typeface="Arial" panose="020B0604020202020204" pitchFamily="34" charset="0"/>
              <a:cs typeface="Arial" panose="020B0604020202020204" pitchFamily="34" charset="0"/>
            </a:rPr>
            <a:t>This JSON file outlines </a:t>
          </a:r>
          <a:r>
            <a:rPr lang="en-IN" sz="1400" b="0" i="0" kern="1200">
              <a:latin typeface="Arial" panose="020B0604020202020204" pitchFamily="34" charset="0"/>
              <a:cs typeface="Arial" panose="020B0604020202020204" pitchFamily="34" charset="0"/>
              <a:hlinkClick xmlns:r="http://schemas.openxmlformats.org/officeDocument/2006/relationships" r:id="rId1"/>
            </a:rPr>
            <a:t>agentic AI</a:t>
          </a:r>
          <a:r>
            <a:rPr lang="en-IN" sz="1400" b="0" i="0" kern="1200">
              <a:latin typeface="Arial" panose="020B0604020202020204" pitchFamily="34" charset="0"/>
              <a:cs typeface="Arial" panose="020B0604020202020204" pitchFamily="34" charset="0"/>
            </a:rPr>
            <a:t> </a:t>
          </a:r>
          <a:r>
            <a:rPr lang="en-IN" sz="1400" b="0" i="0" kern="1200">
              <a:latin typeface="Arial" panose="020B0604020202020204" pitchFamily="34" charset="0"/>
              <a:cs typeface="Arial" panose="020B0604020202020204" pitchFamily="34" charset="0"/>
              <a:hlinkClick xmlns:r="http://schemas.openxmlformats.org/officeDocument/2006/relationships" r:id="rId2"/>
            </a:rPr>
            <a:t>metadata</a:t>
          </a:r>
          <a:r>
            <a:rPr lang="en-IN" sz="1400" b="0" i="0" kern="1200">
              <a:latin typeface="Arial" panose="020B0604020202020204" pitchFamily="34" charset="0"/>
              <a:cs typeface="Arial" panose="020B0604020202020204" pitchFamily="34" charset="0"/>
            </a:rPr>
            <a:t> and can be accessed using a URL. It contains basic information about an agent, including its name, description, version, service endpoint URL, supported modalities or data types and </a:t>
          </a:r>
          <a:r>
            <a:rPr lang="en-IN" sz="1400" b="0" i="0" kern="1200">
              <a:latin typeface="Arial" panose="020B0604020202020204" pitchFamily="34" charset="0"/>
              <a:cs typeface="Arial" panose="020B0604020202020204" pitchFamily="34" charset="0"/>
              <a:hlinkClick xmlns:r="http://schemas.openxmlformats.org/officeDocument/2006/relationships" r:id="rId3"/>
            </a:rPr>
            <a:t>authentication</a:t>
          </a:r>
          <a:r>
            <a:rPr lang="en-IN" sz="1400" b="0" i="0" kern="1200">
              <a:latin typeface="Arial" panose="020B0604020202020204" pitchFamily="34" charset="0"/>
              <a:cs typeface="Arial" panose="020B0604020202020204" pitchFamily="34" charset="0"/>
            </a:rPr>
            <a:t> requirements.</a:t>
          </a:r>
          <a:endParaRPr lang="en-IN" sz="1400" kern="1200">
            <a:latin typeface="Arial" panose="020B0604020202020204" pitchFamily="34" charset="0"/>
            <a:cs typeface="Arial" panose="020B0604020202020204" pitchFamily="34" charset="0"/>
          </a:endParaRPr>
        </a:p>
      </dsp:txBody>
      <dsp:txXfrm>
        <a:off x="0" y="2977198"/>
        <a:ext cx="11262731" cy="1091475"/>
      </dsp:txXfrm>
    </dsp:sp>
    <dsp:sp modelId="{68E8543D-632B-404C-BF36-064CFDF7803D}">
      <dsp:nvSpPr>
        <dsp:cNvPr id="0" name=""/>
        <dsp:cNvSpPr/>
      </dsp:nvSpPr>
      <dsp:spPr>
        <a:xfrm>
          <a:off x="563136" y="2667238"/>
          <a:ext cx="7883911" cy="6199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7993" tIns="0" rIns="297993"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IN" sz="1400" b="0" i="0" kern="1200" dirty="0">
              <a:latin typeface="Arial" panose="020B0604020202020204" pitchFamily="34" charset="0"/>
              <a:cs typeface="Arial" panose="020B0604020202020204" pitchFamily="34" charset="0"/>
            </a:rPr>
            <a:t>Agent card</a:t>
          </a:r>
        </a:p>
      </dsp:txBody>
      <dsp:txXfrm>
        <a:off x="593398" y="2697500"/>
        <a:ext cx="7823387" cy="559396"/>
      </dsp:txXfrm>
    </dsp:sp>
    <dsp:sp modelId="{47B31A48-BEAE-4D47-ABAE-BD62AD5FA3CB}">
      <dsp:nvSpPr>
        <dsp:cNvPr id="0" name=""/>
        <dsp:cNvSpPr/>
      </dsp:nvSpPr>
      <dsp:spPr>
        <a:xfrm>
          <a:off x="0" y="4492033"/>
          <a:ext cx="11262731" cy="1091475"/>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113" tIns="437388" rIns="874113" bIns="99568" numCol="1" spcCol="1270" anchor="t" anchorCtr="0">
          <a:noAutofit/>
        </a:bodyPr>
        <a:lstStyle/>
        <a:p>
          <a:pPr marL="114300" lvl="1" indent="-114300" algn="l" defTabSz="622300">
            <a:lnSpc>
              <a:spcPct val="90000"/>
            </a:lnSpc>
            <a:spcBef>
              <a:spcPct val="0"/>
            </a:spcBef>
            <a:spcAft>
              <a:spcPct val="15000"/>
            </a:spcAft>
            <a:buNone/>
          </a:pPr>
          <a:r>
            <a:rPr lang="en-IN" sz="1400" b="0" i="0" kern="1200" dirty="0">
              <a:latin typeface="Arial" panose="020B0604020202020204" pitchFamily="34" charset="0"/>
              <a:cs typeface="Arial" panose="020B0604020202020204" pitchFamily="34" charset="0"/>
            </a:rPr>
            <a:t>A task represents a unit of work needed to accomplish a request. It has a unique ID and progresses through a lifecycle of defined states (submitted, working, input-required, completed, failed). Tasks are useful for multi-turn processing or long-running agent-to-agent collaboration.</a:t>
          </a:r>
          <a:endParaRPr lang="en-IN" sz="1400" kern="1200" dirty="0">
            <a:latin typeface="Arial" panose="020B0604020202020204" pitchFamily="34" charset="0"/>
            <a:cs typeface="Arial" panose="020B0604020202020204" pitchFamily="34" charset="0"/>
          </a:endParaRPr>
        </a:p>
      </dsp:txBody>
      <dsp:txXfrm>
        <a:off x="0" y="4492033"/>
        <a:ext cx="11262731" cy="1091475"/>
      </dsp:txXfrm>
    </dsp:sp>
    <dsp:sp modelId="{C5E8A469-7C12-4808-8C39-3C57572B2217}">
      <dsp:nvSpPr>
        <dsp:cNvPr id="0" name=""/>
        <dsp:cNvSpPr/>
      </dsp:nvSpPr>
      <dsp:spPr>
        <a:xfrm>
          <a:off x="563136" y="4182073"/>
          <a:ext cx="7883911" cy="6199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7993" tIns="0" rIns="297993" bIns="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IN" sz="1400" b="0" i="0" kern="1200" dirty="0">
              <a:latin typeface="Arial" panose="020B0604020202020204" pitchFamily="34" charset="0"/>
              <a:cs typeface="Arial" panose="020B0604020202020204" pitchFamily="34" charset="0"/>
            </a:rPr>
            <a:t>Task</a:t>
          </a:r>
        </a:p>
      </dsp:txBody>
      <dsp:txXfrm>
        <a:off x="593398" y="4212335"/>
        <a:ext cx="7823387" cy="5593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A9A171-9642-4C41-B0C5-04148BBA5E3A}">
      <dsp:nvSpPr>
        <dsp:cNvPr id="0" name=""/>
        <dsp:cNvSpPr/>
      </dsp:nvSpPr>
      <dsp:spPr>
        <a:xfrm>
          <a:off x="0" y="419909"/>
          <a:ext cx="11273884" cy="1360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979" tIns="562356" rIns="874979" bIns="113792" numCol="1" spcCol="1270" anchor="t" anchorCtr="0">
          <a:noAutofit/>
        </a:bodyPr>
        <a:lstStyle/>
        <a:p>
          <a:pPr marL="171450" lvl="1" indent="-171450" algn="l" defTabSz="711200">
            <a:lnSpc>
              <a:spcPct val="90000"/>
            </a:lnSpc>
            <a:spcBef>
              <a:spcPct val="0"/>
            </a:spcBef>
            <a:spcAft>
              <a:spcPct val="15000"/>
            </a:spcAft>
            <a:buNone/>
          </a:pPr>
          <a:r>
            <a:rPr lang="en-IN" sz="1600" b="0" i="0" kern="1200" dirty="0">
              <a:latin typeface="Arial" panose="020B0604020202020204" pitchFamily="34" charset="0"/>
              <a:cs typeface="Arial" panose="020B0604020202020204" pitchFamily="34" charset="0"/>
            </a:rPr>
            <a:t>As a fundamental unit of communication, a message depicts a single exchange or turn in a conversation. It contains one or more parts holding the actual content.</a:t>
          </a:r>
          <a:endParaRPr lang="en-IN" sz="1600" kern="1200" dirty="0">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None/>
          </a:pPr>
          <a:r>
            <a:rPr lang="en-IN" sz="1600" b="0" i="0" kern="1200" dirty="0">
              <a:latin typeface="Arial" panose="020B0604020202020204" pitchFamily="34" charset="0"/>
              <a:cs typeface="Arial" panose="020B0604020202020204" pitchFamily="34" charset="0"/>
            </a:rPr>
            <a:t>Messages relay answers, context, instructions, prompts, questions, replies and status updates.</a:t>
          </a:r>
        </a:p>
      </dsp:txBody>
      <dsp:txXfrm>
        <a:off x="0" y="419909"/>
        <a:ext cx="11273884" cy="1360800"/>
      </dsp:txXfrm>
    </dsp:sp>
    <dsp:sp modelId="{47CBBC90-A66E-46B6-ACE2-80CC745B3171}">
      <dsp:nvSpPr>
        <dsp:cNvPr id="0" name=""/>
        <dsp:cNvSpPr/>
      </dsp:nvSpPr>
      <dsp:spPr>
        <a:xfrm>
          <a:off x="563694" y="21389"/>
          <a:ext cx="7891718" cy="79704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8288" tIns="0" rIns="298288"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IN" sz="1600" b="0" i="0" kern="1200" dirty="0">
              <a:latin typeface="Arial" panose="020B0604020202020204" pitchFamily="34" charset="0"/>
              <a:cs typeface="Arial" panose="020B0604020202020204" pitchFamily="34" charset="0"/>
            </a:rPr>
            <a:t>Message</a:t>
          </a:r>
        </a:p>
      </dsp:txBody>
      <dsp:txXfrm>
        <a:off x="602602" y="60297"/>
        <a:ext cx="7813902" cy="719224"/>
      </dsp:txXfrm>
    </dsp:sp>
    <dsp:sp modelId="{0983EC31-0B3D-4831-B338-C5BB6AC9A886}">
      <dsp:nvSpPr>
        <dsp:cNvPr id="0" name=""/>
        <dsp:cNvSpPr/>
      </dsp:nvSpPr>
      <dsp:spPr>
        <a:xfrm>
          <a:off x="0" y="2325029"/>
          <a:ext cx="11273884" cy="1318275"/>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979" tIns="562356" rIns="874979" bIns="113792" numCol="1" spcCol="1270" anchor="t" anchorCtr="0">
          <a:noAutofit/>
        </a:bodyPr>
        <a:lstStyle/>
        <a:p>
          <a:pPr marL="171450" lvl="1" indent="-171450" algn="l" defTabSz="711200">
            <a:lnSpc>
              <a:spcPct val="90000"/>
            </a:lnSpc>
            <a:spcBef>
              <a:spcPct val="0"/>
            </a:spcBef>
            <a:spcAft>
              <a:spcPct val="15000"/>
            </a:spcAft>
            <a:buNone/>
          </a:pPr>
          <a:r>
            <a:rPr lang="en-IN" sz="1600" b="0" i="0" kern="1200">
              <a:latin typeface="Arial" panose="020B0604020202020204" pitchFamily="34" charset="0"/>
              <a:cs typeface="Arial" panose="020B0604020202020204" pitchFamily="34" charset="0"/>
            </a:rPr>
            <a:t>An artifact is a tangible product generated by the A2A server as a result of its work. It can be a document, image, spreadsheet or any other deliverable. Like messages, artifacts consist of one or more parts and can be incrementally streamed.</a:t>
          </a:r>
          <a:endParaRPr lang="en-IN" sz="1600" kern="1200">
            <a:latin typeface="Arial" panose="020B0604020202020204" pitchFamily="34" charset="0"/>
            <a:cs typeface="Arial" panose="020B0604020202020204" pitchFamily="34" charset="0"/>
          </a:endParaRPr>
        </a:p>
      </dsp:txBody>
      <dsp:txXfrm>
        <a:off x="0" y="2325029"/>
        <a:ext cx="11273884" cy="1318275"/>
      </dsp:txXfrm>
    </dsp:sp>
    <dsp:sp modelId="{078902AF-4506-4964-93F3-C13E507CB381}">
      <dsp:nvSpPr>
        <dsp:cNvPr id="0" name=""/>
        <dsp:cNvSpPr/>
      </dsp:nvSpPr>
      <dsp:spPr>
        <a:xfrm>
          <a:off x="563694" y="1926509"/>
          <a:ext cx="7891718" cy="79704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8288" tIns="0" rIns="298288"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IN" sz="1600" b="0" i="0" kern="1200" dirty="0">
              <a:latin typeface="Arial" panose="020B0604020202020204" pitchFamily="34" charset="0"/>
              <a:cs typeface="Arial" panose="020B0604020202020204" pitchFamily="34" charset="0"/>
            </a:rPr>
            <a:t>Artifact</a:t>
          </a:r>
        </a:p>
      </dsp:txBody>
      <dsp:txXfrm>
        <a:off x="602602" y="1965417"/>
        <a:ext cx="7813902" cy="719224"/>
      </dsp:txXfrm>
    </dsp:sp>
    <dsp:sp modelId="{5F587435-9CF7-4F6C-87F2-372343D7530D}">
      <dsp:nvSpPr>
        <dsp:cNvPr id="0" name=""/>
        <dsp:cNvSpPr/>
      </dsp:nvSpPr>
      <dsp:spPr>
        <a:xfrm>
          <a:off x="0" y="4187624"/>
          <a:ext cx="11273884" cy="1318275"/>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74979" tIns="562356" rIns="874979" bIns="113792" numCol="1" spcCol="1270" anchor="t" anchorCtr="0">
          <a:noAutofit/>
        </a:bodyPr>
        <a:lstStyle/>
        <a:p>
          <a:pPr marL="171450" lvl="1" indent="-171450" algn="l" defTabSz="711200">
            <a:lnSpc>
              <a:spcPct val="90000"/>
            </a:lnSpc>
            <a:spcBef>
              <a:spcPct val="0"/>
            </a:spcBef>
            <a:spcAft>
              <a:spcPct val="15000"/>
            </a:spcAft>
            <a:buNone/>
          </a:pPr>
          <a:r>
            <a:rPr lang="en-IN" sz="1600" b="0" i="0" kern="1200">
              <a:latin typeface="Arial" panose="020B0604020202020204" pitchFamily="34" charset="0"/>
              <a:cs typeface="Arial" panose="020B0604020202020204" pitchFamily="34" charset="0"/>
            </a:rPr>
            <a:t>A part is a piece of content inside a message or an artifact. Parts have various types based on the data they carry. A TextPart is a vessel for text, a FilePart represents files and a DataPart encompasses structured JSON (JavaScript Object Notation) data.</a:t>
          </a:r>
          <a:endParaRPr lang="en-IN" sz="1600" kern="1200">
            <a:latin typeface="Arial" panose="020B0604020202020204" pitchFamily="34" charset="0"/>
            <a:cs typeface="Arial" panose="020B0604020202020204" pitchFamily="34" charset="0"/>
          </a:endParaRPr>
        </a:p>
      </dsp:txBody>
      <dsp:txXfrm>
        <a:off x="0" y="4187624"/>
        <a:ext cx="11273884" cy="1318275"/>
      </dsp:txXfrm>
    </dsp:sp>
    <dsp:sp modelId="{991CAE23-7658-4C98-9231-A3FD52752DD9}">
      <dsp:nvSpPr>
        <dsp:cNvPr id="0" name=""/>
        <dsp:cNvSpPr/>
      </dsp:nvSpPr>
      <dsp:spPr>
        <a:xfrm>
          <a:off x="563694" y="3789104"/>
          <a:ext cx="7891718" cy="79704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8288" tIns="0" rIns="298288"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IN" sz="1600" b="0" i="0" kern="1200" dirty="0">
              <a:latin typeface="Arial" panose="020B0604020202020204" pitchFamily="34" charset="0"/>
              <a:cs typeface="Arial" panose="020B0604020202020204" pitchFamily="34" charset="0"/>
            </a:rPr>
            <a:t>Part</a:t>
          </a:r>
        </a:p>
      </dsp:txBody>
      <dsp:txXfrm>
        <a:off x="602602" y="3828012"/>
        <a:ext cx="7813902" cy="7192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B52890-DD8B-4854-A4A4-56D9DA073B8F}">
      <dsp:nvSpPr>
        <dsp:cNvPr id="0" name=""/>
        <dsp:cNvSpPr/>
      </dsp:nvSpPr>
      <dsp:spPr>
        <a:xfrm>
          <a:off x="363916" y="1745"/>
          <a:ext cx="2409377" cy="605843"/>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IN" sz="2800" b="0" i="0" kern="1200" dirty="0"/>
            <a:t>🤖 AI Assistant</a:t>
          </a:r>
          <a:endParaRPr lang="en-IN" sz="2800" kern="1200" dirty="0"/>
        </a:p>
      </dsp:txBody>
      <dsp:txXfrm>
        <a:off x="381661" y="19490"/>
        <a:ext cx="2373887" cy="570353"/>
      </dsp:txXfrm>
    </dsp:sp>
    <dsp:sp modelId="{011E5274-D4F2-4F7F-812B-DB0DC24596AD}">
      <dsp:nvSpPr>
        <dsp:cNvPr id="0" name=""/>
        <dsp:cNvSpPr/>
      </dsp:nvSpPr>
      <dsp:spPr>
        <a:xfrm>
          <a:off x="604854" y="607588"/>
          <a:ext cx="240937" cy="454382"/>
        </a:xfrm>
        <a:custGeom>
          <a:avLst/>
          <a:gdLst/>
          <a:ahLst/>
          <a:cxnLst/>
          <a:rect l="0" t="0" r="0" b="0"/>
          <a:pathLst>
            <a:path>
              <a:moveTo>
                <a:pt x="0" y="0"/>
              </a:moveTo>
              <a:lnTo>
                <a:pt x="0" y="454382"/>
              </a:lnTo>
              <a:lnTo>
                <a:pt x="240937" y="45438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6AB7A5-E2D0-4B08-913E-B850B9A5134B}">
      <dsp:nvSpPr>
        <dsp:cNvPr id="0" name=""/>
        <dsp:cNvSpPr/>
      </dsp:nvSpPr>
      <dsp:spPr>
        <a:xfrm>
          <a:off x="845792" y="759049"/>
          <a:ext cx="1877086" cy="605843"/>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IN" sz="1700" kern="1200" dirty="0"/>
            <a:t>🏨 Hotel Reservation Agent</a:t>
          </a:r>
        </a:p>
      </dsp:txBody>
      <dsp:txXfrm>
        <a:off x="863537" y="776794"/>
        <a:ext cx="1841596" cy="570353"/>
      </dsp:txXfrm>
    </dsp:sp>
    <dsp:sp modelId="{BD62249A-787C-4419-9EC0-F6AF08499EDB}">
      <dsp:nvSpPr>
        <dsp:cNvPr id="0" name=""/>
        <dsp:cNvSpPr/>
      </dsp:nvSpPr>
      <dsp:spPr>
        <a:xfrm>
          <a:off x="604854" y="607588"/>
          <a:ext cx="240937" cy="1211686"/>
        </a:xfrm>
        <a:custGeom>
          <a:avLst/>
          <a:gdLst/>
          <a:ahLst/>
          <a:cxnLst/>
          <a:rect l="0" t="0" r="0" b="0"/>
          <a:pathLst>
            <a:path>
              <a:moveTo>
                <a:pt x="0" y="0"/>
              </a:moveTo>
              <a:lnTo>
                <a:pt x="0" y="1211686"/>
              </a:lnTo>
              <a:lnTo>
                <a:pt x="240937" y="1211686"/>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E70DF4-DA01-4EA5-A5BA-FEC3745941CA}">
      <dsp:nvSpPr>
        <dsp:cNvPr id="0" name=""/>
        <dsp:cNvSpPr/>
      </dsp:nvSpPr>
      <dsp:spPr>
        <a:xfrm>
          <a:off x="845792" y="1516353"/>
          <a:ext cx="1877086" cy="605843"/>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160472"/>
              <a:satOff val="3389"/>
              <a:lumOff val="902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IN" sz="1700" kern="1200" dirty="0"/>
            <a:t>💱 Currency Conversion Agent</a:t>
          </a:r>
        </a:p>
      </dsp:txBody>
      <dsp:txXfrm>
        <a:off x="863537" y="1534098"/>
        <a:ext cx="1841596" cy="570353"/>
      </dsp:txXfrm>
    </dsp:sp>
    <dsp:sp modelId="{FB5FC0E6-236D-4466-B320-9F325EA89B74}">
      <dsp:nvSpPr>
        <dsp:cNvPr id="0" name=""/>
        <dsp:cNvSpPr/>
      </dsp:nvSpPr>
      <dsp:spPr>
        <a:xfrm>
          <a:off x="604854" y="607588"/>
          <a:ext cx="240937" cy="1968990"/>
        </a:xfrm>
        <a:custGeom>
          <a:avLst/>
          <a:gdLst/>
          <a:ahLst/>
          <a:cxnLst/>
          <a:rect l="0" t="0" r="0" b="0"/>
          <a:pathLst>
            <a:path>
              <a:moveTo>
                <a:pt x="0" y="0"/>
              </a:moveTo>
              <a:lnTo>
                <a:pt x="0" y="1968990"/>
              </a:lnTo>
              <a:lnTo>
                <a:pt x="240937" y="1968990"/>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CF9A0B-506B-4A2B-BBC0-7A76550C3781}">
      <dsp:nvSpPr>
        <dsp:cNvPr id="0" name=""/>
        <dsp:cNvSpPr/>
      </dsp:nvSpPr>
      <dsp:spPr>
        <a:xfrm>
          <a:off x="845792" y="2273657"/>
          <a:ext cx="1877086" cy="605843"/>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320943"/>
              <a:satOff val="6777"/>
              <a:lumOff val="180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IN" sz="1700" kern="1200" dirty="0"/>
            <a:t>🚌 Local Tours Agent</a:t>
          </a:r>
        </a:p>
      </dsp:txBody>
      <dsp:txXfrm>
        <a:off x="863537" y="2291402"/>
        <a:ext cx="1841596" cy="570353"/>
      </dsp:txXfrm>
    </dsp:sp>
    <dsp:sp modelId="{3F84D0F6-EFE3-44EE-821A-12A0831AE441}">
      <dsp:nvSpPr>
        <dsp:cNvPr id="0" name=""/>
        <dsp:cNvSpPr/>
      </dsp:nvSpPr>
      <dsp:spPr>
        <a:xfrm>
          <a:off x="604854" y="607588"/>
          <a:ext cx="240937" cy="2726294"/>
        </a:xfrm>
        <a:custGeom>
          <a:avLst/>
          <a:gdLst/>
          <a:ahLst/>
          <a:cxnLst/>
          <a:rect l="0" t="0" r="0" b="0"/>
          <a:pathLst>
            <a:path>
              <a:moveTo>
                <a:pt x="0" y="0"/>
              </a:moveTo>
              <a:lnTo>
                <a:pt x="0" y="2726294"/>
              </a:lnTo>
              <a:lnTo>
                <a:pt x="240937" y="2726294"/>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6D8F60-15A2-45F1-A29A-E22246A81600}">
      <dsp:nvSpPr>
        <dsp:cNvPr id="0" name=""/>
        <dsp:cNvSpPr/>
      </dsp:nvSpPr>
      <dsp:spPr>
        <a:xfrm>
          <a:off x="845792" y="3030961"/>
          <a:ext cx="1877086" cy="605843"/>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481415"/>
              <a:satOff val="10166"/>
              <a:lumOff val="270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IN" sz="1700" b="0" i="0" kern="1200" dirty="0"/>
            <a:t>✈️ Flight Booking Agent</a:t>
          </a:r>
          <a:endParaRPr lang="en-IN" sz="1700" kern="1200" dirty="0"/>
        </a:p>
      </dsp:txBody>
      <dsp:txXfrm>
        <a:off x="863537" y="3048706"/>
        <a:ext cx="1841596" cy="5703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B7147-E550-4B0C-A285-CFAD616C72A3}">
      <dsp:nvSpPr>
        <dsp:cNvPr id="0" name=""/>
        <dsp:cNvSpPr/>
      </dsp:nvSpPr>
      <dsp:spPr>
        <a:xfrm>
          <a:off x="0" y="2011"/>
          <a:ext cx="705996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BBC248-B196-4214-8F10-CFDAB3574A0A}">
      <dsp:nvSpPr>
        <dsp:cNvPr id="0" name=""/>
        <dsp:cNvSpPr/>
      </dsp:nvSpPr>
      <dsp:spPr>
        <a:xfrm>
          <a:off x="0" y="2011"/>
          <a:ext cx="2449457" cy="4115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Agent Card</a:t>
          </a:r>
        </a:p>
        <a:p>
          <a:pPr marL="0" lvl="0" indent="0" algn="l" defTabSz="1244600">
            <a:lnSpc>
              <a:spcPct val="90000"/>
            </a:lnSpc>
            <a:spcBef>
              <a:spcPct val="0"/>
            </a:spcBef>
            <a:spcAft>
              <a:spcPct val="35000"/>
            </a:spcAft>
            <a:buNone/>
          </a:pPr>
          <a:endParaRPr lang="en-IN" sz="2800" kern="1200" dirty="0"/>
        </a:p>
        <a:p>
          <a:pPr marL="0" lvl="0" indent="0" algn="l" defTabSz="1244600">
            <a:lnSpc>
              <a:spcPct val="90000"/>
            </a:lnSpc>
            <a:spcBef>
              <a:spcPct val="0"/>
            </a:spcBef>
            <a:spcAft>
              <a:spcPct val="35000"/>
            </a:spcAft>
            <a:buNone/>
          </a:pPr>
          <a:r>
            <a:rPr lang="en-IN" sz="2800" kern="1200" dirty="0" err="1"/>
            <a:t>agent.json</a:t>
          </a:r>
          <a:endParaRPr lang="en-IN" sz="2800" kern="1200" dirty="0"/>
        </a:p>
      </dsp:txBody>
      <dsp:txXfrm>
        <a:off x="0" y="2011"/>
        <a:ext cx="2449457" cy="4115938"/>
      </dsp:txXfrm>
    </dsp:sp>
    <dsp:sp modelId="{76B287FE-05F8-4EA2-A2E7-06D76B66BFF7}">
      <dsp:nvSpPr>
        <dsp:cNvPr id="0" name=""/>
        <dsp:cNvSpPr/>
      </dsp:nvSpPr>
      <dsp:spPr>
        <a:xfrm>
          <a:off x="2535811" y="83004"/>
          <a:ext cx="4519167" cy="360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Name</a:t>
          </a:r>
        </a:p>
      </dsp:txBody>
      <dsp:txXfrm>
        <a:off x="2535811" y="83004"/>
        <a:ext cx="4519167" cy="360237"/>
      </dsp:txXfrm>
    </dsp:sp>
    <dsp:sp modelId="{EDC480BC-B88B-4E7B-91C9-05FBB0FB0345}">
      <dsp:nvSpPr>
        <dsp:cNvPr id="0" name=""/>
        <dsp:cNvSpPr/>
      </dsp:nvSpPr>
      <dsp:spPr>
        <a:xfrm>
          <a:off x="2449457" y="443241"/>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745F3E-CFBE-4139-AB21-AEA371E88A03}">
      <dsp:nvSpPr>
        <dsp:cNvPr id="0" name=""/>
        <dsp:cNvSpPr/>
      </dsp:nvSpPr>
      <dsp:spPr>
        <a:xfrm>
          <a:off x="2535811" y="524234"/>
          <a:ext cx="4519167" cy="3365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Description</a:t>
          </a:r>
          <a:endParaRPr lang="en-IN" sz="1200" kern="1200" dirty="0"/>
        </a:p>
      </dsp:txBody>
      <dsp:txXfrm>
        <a:off x="2535811" y="524234"/>
        <a:ext cx="4519167" cy="336507"/>
      </dsp:txXfrm>
    </dsp:sp>
    <dsp:sp modelId="{762D712C-F763-487B-B1B5-5EB45C272706}">
      <dsp:nvSpPr>
        <dsp:cNvPr id="0" name=""/>
        <dsp:cNvSpPr/>
      </dsp:nvSpPr>
      <dsp:spPr>
        <a:xfrm>
          <a:off x="2449457" y="860741"/>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1F3DA8-FBAB-49DB-9767-284DFF91E8D0}">
      <dsp:nvSpPr>
        <dsp:cNvPr id="0" name=""/>
        <dsp:cNvSpPr/>
      </dsp:nvSpPr>
      <dsp:spPr>
        <a:xfrm>
          <a:off x="2535811" y="941733"/>
          <a:ext cx="4519167" cy="3723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URL</a:t>
          </a:r>
          <a:endParaRPr lang="en-IN" sz="1200" kern="1200" dirty="0"/>
        </a:p>
      </dsp:txBody>
      <dsp:txXfrm>
        <a:off x="2535811" y="941733"/>
        <a:ext cx="4519167" cy="372386"/>
      </dsp:txXfrm>
    </dsp:sp>
    <dsp:sp modelId="{CF678F4D-810E-4E8A-97BD-7F4AC66FA882}">
      <dsp:nvSpPr>
        <dsp:cNvPr id="0" name=""/>
        <dsp:cNvSpPr/>
      </dsp:nvSpPr>
      <dsp:spPr>
        <a:xfrm>
          <a:off x="2449457" y="1314120"/>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91E353-C405-49C3-B5F9-220676215F66}">
      <dsp:nvSpPr>
        <dsp:cNvPr id="0" name=""/>
        <dsp:cNvSpPr/>
      </dsp:nvSpPr>
      <dsp:spPr>
        <a:xfrm>
          <a:off x="2535811" y="1395112"/>
          <a:ext cx="4519167" cy="431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Version</a:t>
          </a:r>
          <a:endParaRPr lang="en-IN" sz="1200" kern="1200" dirty="0"/>
        </a:p>
      </dsp:txBody>
      <dsp:txXfrm>
        <a:off x="2535811" y="1395112"/>
        <a:ext cx="4519167" cy="431138"/>
      </dsp:txXfrm>
    </dsp:sp>
    <dsp:sp modelId="{FCAD74CC-93D8-4430-85CC-BBB114938F0E}">
      <dsp:nvSpPr>
        <dsp:cNvPr id="0" name=""/>
        <dsp:cNvSpPr/>
      </dsp:nvSpPr>
      <dsp:spPr>
        <a:xfrm>
          <a:off x="2449457" y="1826250"/>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04BAC6-131D-4A05-86DA-99FE1B54DF75}">
      <dsp:nvSpPr>
        <dsp:cNvPr id="0" name=""/>
        <dsp:cNvSpPr/>
      </dsp:nvSpPr>
      <dsp:spPr>
        <a:xfrm>
          <a:off x="2535811" y="1907243"/>
          <a:ext cx="4519167" cy="425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Default input/output mode</a:t>
          </a:r>
          <a:endParaRPr lang="en-IN" sz="1200" kern="1200" dirty="0"/>
        </a:p>
      </dsp:txBody>
      <dsp:txXfrm>
        <a:off x="2535811" y="1907243"/>
        <a:ext cx="4519167" cy="425825"/>
      </dsp:txXfrm>
    </dsp:sp>
    <dsp:sp modelId="{D7865FDD-3CC3-443C-B2FA-011D909DE552}">
      <dsp:nvSpPr>
        <dsp:cNvPr id="0" name=""/>
        <dsp:cNvSpPr/>
      </dsp:nvSpPr>
      <dsp:spPr>
        <a:xfrm>
          <a:off x="2449457" y="2333068"/>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610E99-C107-4EBD-A73B-C66FA8236BF1}">
      <dsp:nvSpPr>
        <dsp:cNvPr id="0" name=""/>
        <dsp:cNvSpPr/>
      </dsp:nvSpPr>
      <dsp:spPr>
        <a:xfrm>
          <a:off x="2535811" y="2414060"/>
          <a:ext cx="4519167" cy="1619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Skills: [ </a:t>
          </a:r>
          <a:r>
            <a:rPr lang="en-US" sz="1200" kern="1200" dirty="0" err="1"/>
            <a:t>AgentSkill</a:t>
          </a:r>
          <a:r>
            <a:rPr lang="en-US" sz="1200" kern="1200" dirty="0"/>
            <a:t>(</a:t>
          </a:r>
        </a:p>
        <a:p>
          <a:pPr marL="0" lvl="0" indent="0" algn="l" defTabSz="533400">
            <a:lnSpc>
              <a:spcPct val="90000"/>
            </a:lnSpc>
            <a:spcBef>
              <a:spcPct val="0"/>
            </a:spcBef>
            <a:spcAft>
              <a:spcPct val="35000"/>
            </a:spcAft>
            <a:buNone/>
          </a:pPr>
          <a:r>
            <a:rPr lang="en-US" sz="1200" kern="1200" dirty="0"/>
            <a:t>Id</a:t>
          </a:r>
        </a:p>
        <a:p>
          <a:pPr marL="0" lvl="0" indent="0" algn="l" defTabSz="533400">
            <a:lnSpc>
              <a:spcPct val="90000"/>
            </a:lnSpc>
            <a:spcBef>
              <a:spcPct val="0"/>
            </a:spcBef>
            <a:spcAft>
              <a:spcPct val="35000"/>
            </a:spcAft>
            <a:buNone/>
          </a:pPr>
          <a:r>
            <a:rPr lang="en-US" sz="1200" kern="1200" dirty="0"/>
            <a:t>Name</a:t>
          </a:r>
        </a:p>
        <a:p>
          <a:pPr marL="0" lvl="0" indent="0" algn="l" defTabSz="533400">
            <a:lnSpc>
              <a:spcPct val="90000"/>
            </a:lnSpc>
            <a:spcBef>
              <a:spcPct val="0"/>
            </a:spcBef>
            <a:spcAft>
              <a:spcPct val="35000"/>
            </a:spcAft>
            <a:buNone/>
          </a:pPr>
          <a:r>
            <a:rPr lang="en-US" sz="1200" kern="1200" dirty="0" err="1"/>
            <a:t>Descpription</a:t>
          </a:r>
          <a:endParaRPr lang="en-US" sz="1200" kern="1200" dirty="0"/>
        </a:p>
        <a:p>
          <a:pPr marL="0" lvl="0" indent="0" algn="l" defTabSz="533400">
            <a:lnSpc>
              <a:spcPct val="90000"/>
            </a:lnSpc>
            <a:spcBef>
              <a:spcPct val="0"/>
            </a:spcBef>
            <a:spcAft>
              <a:spcPct val="35000"/>
            </a:spcAft>
            <a:buNone/>
          </a:pPr>
          <a:r>
            <a:rPr lang="en-US" sz="1200" kern="1200" dirty="0"/>
            <a:t>Tags</a:t>
          </a:r>
        </a:p>
        <a:p>
          <a:pPr marL="0" lvl="0" indent="0" algn="l" defTabSz="533400">
            <a:lnSpc>
              <a:spcPct val="90000"/>
            </a:lnSpc>
            <a:spcBef>
              <a:spcPct val="0"/>
            </a:spcBef>
            <a:spcAft>
              <a:spcPct val="35000"/>
            </a:spcAft>
            <a:buNone/>
          </a:pPr>
          <a:r>
            <a:rPr lang="en-US" sz="1200" kern="1200" dirty="0"/>
            <a:t>Examples</a:t>
          </a:r>
        </a:p>
        <a:p>
          <a:pPr marL="0" lvl="0" indent="0" algn="l" defTabSz="533400">
            <a:lnSpc>
              <a:spcPct val="90000"/>
            </a:lnSpc>
            <a:spcBef>
              <a:spcPct val="0"/>
            </a:spcBef>
            <a:spcAft>
              <a:spcPct val="35000"/>
            </a:spcAft>
            <a:buNone/>
          </a:pPr>
          <a:r>
            <a:rPr lang="en-US" sz="1200" kern="1200" dirty="0"/>
            <a:t>)]</a:t>
          </a:r>
          <a:endParaRPr lang="en-IN" sz="1200" kern="1200" dirty="0"/>
        </a:p>
      </dsp:txBody>
      <dsp:txXfrm>
        <a:off x="2535811" y="2414060"/>
        <a:ext cx="4519167" cy="1619846"/>
      </dsp:txXfrm>
    </dsp:sp>
    <dsp:sp modelId="{36792D24-C1AE-48D7-9DF1-45C279CFF594}">
      <dsp:nvSpPr>
        <dsp:cNvPr id="0" name=""/>
        <dsp:cNvSpPr/>
      </dsp:nvSpPr>
      <dsp:spPr>
        <a:xfrm>
          <a:off x="2449457" y="4033907"/>
          <a:ext cx="460552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9FD317-A55F-49DF-9410-C5378BE7A62E}">
      <dsp:nvSpPr>
        <dsp:cNvPr id="0" name=""/>
        <dsp:cNvSpPr/>
      </dsp:nvSpPr>
      <dsp:spPr>
        <a:xfrm>
          <a:off x="1600" y="223840"/>
          <a:ext cx="2538933" cy="1749324"/>
        </a:xfrm>
        <a:prstGeom prst="roundRect">
          <a:avLst/>
        </a:prstGeom>
        <a:blipFill dpi="0" rotWithShape="1">
          <a:blip xmlns:r="http://schemas.openxmlformats.org/officeDocument/2006/relationships" r:embed="rId1"/>
          <a:srcRect/>
          <a:stretch>
            <a:fillRect l="-11244" r="-419"/>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4FC982-B51E-4064-87CC-D8278673166D}">
      <dsp:nvSpPr>
        <dsp:cNvPr id="0" name=""/>
        <dsp:cNvSpPr/>
      </dsp:nvSpPr>
      <dsp:spPr>
        <a:xfrm>
          <a:off x="1600" y="1973165"/>
          <a:ext cx="2538933" cy="9419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sz="2600" kern="1200" dirty="0"/>
            <a:t>Discovery</a:t>
          </a:r>
          <a:endParaRPr lang="en-IN" sz="2600" kern="1200" dirty="0"/>
        </a:p>
      </dsp:txBody>
      <dsp:txXfrm>
        <a:off x="1600" y="1973165"/>
        <a:ext cx="2538933" cy="941944"/>
      </dsp:txXfrm>
    </dsp:sp>
    <dsp:sp modelId="{DC2B72E6-960B-41E5-9254-6311468CDB6E}">
      <dsp:nvSpPr>
        <dsp:cNvPr id="0" name=""/>
        <dsp:cNvSpPr/>
      </dsp:nvSpPr>
      <dsp:spPr>
        <a:xfrm>
          <a:off x="2794533" y="223840"/>
          <a:ext cx="2538933" cy="1749324"/>
        </a:xfrm>
        <a:prstGeom prst="roundRect">
          <a:avLst/>
        </a:prstGeom>
        <a:blipFill dpi="0" rotWithShape="1">
          <a:blip xmlns:r="http://schemas.openxmlformats.org/officeDocument/2006/relationships" r:embed="rId2"/>
          <a:srcRect/>
          <a:stretch>
            <a:fillRect l="-11245" r="-21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E109CB-BE8E-479D-B052-ACA2D55CA932}">
      <dsp:nvSpPr>
        <dsp:cNvPr id="0" name=""/>
        <dsp:cNvSpPr/>
      </dsp:nvSpPr>
      <dsp:spPr>
        <a:xfrm>
          <a:off x="2794533" y="1973165"/>
          <a:ext cx="2538933" cy="9419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IN" sz="2600" kern="1200">
              <a:ea typeface="Tahoma" panose="020B0604030504040204" pitchFamily="34" charset="0"/>
              <a:cs typeface="Tahoma" panose="020B0604030504040204" pitchFamily="34" charset="0"/>
            </a:rPr>
            <a:t>Authentication</a:t>
          </a:r>
          <a:endParaRPr lang="en-IN" sz="2600" kern="1200" dirty="0"/>
        </a:p>
      </dsp:txBody>
      <dsp:txXfrm>
        <a:off x="2794533" y="1973165"/>
        <a:ext cx="2538933" cy="941944"/>
      </dsp:txXfrm>
    </dsp:sp>
    <dsp:sp modelId="{F3DE895E-18BC-46AB-8D01-F457B91DADDF}">
      <dsp:nvSpPr>
        <dsp:cNvPr id="0" name=""/>
        <dsp:cNvSpPr/>
      </dsp:nvSpPr>
      <dsp:spPr>
        <a:xfrm>
          <a:off x="5587466" y="223840"/>
          <a:ext cx="2538933" cy="1749324"/>
        </a:xfrm>
        <a:prstGeom prst="roundRect">
          <a:avLst/>
        </a:prstGeom>
        <a:blipFill dpi="0" rotWithShape="1">
          <a:blip xmlns:r="http://schemas.openxmlformats.org/officeDocument/2006/relationships" r:embed="rId3"/>
          <a:srcRect/>
          <a:stretch>
            <a:fillRect l="-125" r="1303"/>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8396C-9031-4542-994C-9737F2C6DF8E}">
      <dsp:nvSpPr>
        <dsp:cNvPr id="0" name=""/>
        <dsp:cNvSpPr/>
      </dsp:nvSpPr>
      <dsp:spPr>
        <a:xfrm>
          <a:off x="5587466" y="1973165"/>
          <a:ext cx="2538933" cy="9419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IN" sz="2600" kern="1200">
              <a:ea typeface="Tahoma" panose="020B0604030504040204" pitchFamily="34" charset="0"/>
              <a:cs typeface="Tahoma" panose="020B0604030504040204" pitchFamily="34" charset="0"/>
            </a:rPr>
            <a:t>Communication</a:t>
          </a:r>
          <a:endParaRPr lang="en-IN" sz="2600" kern="1200" dirty="0">
            <a:ea typeface="Tahoma" panose="020B0604030504040204" pitchFamily="34" charset="0"/>
            <a:cs typeface="Tahoma" panose="020B0604030504040204" pitchFamily="34" charset="0"/>
          </a:endParaRPr>
        </a:p>
      </dsp:txBody>
      <dsp:txXfrm>
        <a:off x="5587466" y="1973165"/>
        <a:ext cx="2538933" cy="94194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B3CA8C3-C7D4-49E5-882B-46075AC5E2BB}"/>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332194CC-24FA-49E8-98E4-77FD3514F755}"/>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7B8C997A-7340-4627-B5D7-50F342E4C83B}" type="datetimeFigureOut">
              <a:rPr lang="en-IN" smtClean="0"/>
              <a:t>19-01-2026</a:t>
            </a:fld>
            <a:endParaRPr lang="en-IN"/>
          </a:p>
        </p:txBody>
      </p:sp>
      <p:sp>
        <p:nvSpPr>
          <p:cNvPr id="4" name="Footer Placeholder 3">
            <a:extLst>
              <a:ext uri="{FF2B5EF4-FFF2-40B4-BE49-F238E27FC236}">
                <a16:creationId xmlns:a16="http://schemas.microsoft.com/office/drawing/2014/main" id="{CCC206B1-0015-4BE6-B924-D33A613CB09E}"/>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85DD34B1-8190-465F-810F-51D33EA735DC}"/>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3AB97C92-EF82-4470-9F6D-6B47509DE676}" type="slidenum">
              <a:rPr lang="en-IN" smtClean="0"/>
              <a:t>‹#›</a:t>
            </a:fld>
            <a:endParaRPr lang="en-IN"/>
          </a:p>
        </p:txBody>
      </p:sp>
    </p:spTree>
    <p:extLst>
      <p:ext uri="{BB962C8B-B14F-4D97-AF65-F5344CB8AC3E}">
        <p14:creationId xmlns:p14="http://schemas.microsoft.com/office/powerpoint/2010/main" val="918297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7E1CC8B0-A0D2-4D8D-BF6B-DAD574D2B889}" type="datetimeFigureOut">
              <a:rPr lang="en-US" smtClean="0"/>
              <a:pPr/>
              <a:t>1/19/2026</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AD0492FF-2A8C-436C-8264-82E1BAAAAC1E}" type="slidenum">
              <a:rPr lang="en-US" smtClean="0"/>
              <a:pPr/>
              <a:t>‹#›</a:t>
            </a:fld>
            <a:endParaRPr lang="en-US"/>
          </a:p>
        </p:txBody>
      </p:sp>
    </p:spTree>
    <p:extLst>
      <p:ext uri="{BB962C8B-B14F-4D97-AF65-F5344CB8AC3E}">
        <p14:creationId xmlns:p14="http://schemas.microsoft.com/office/powerpoint/2010/main" val="42666269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1</a:t>
            </a:fld>
            <a:endParaRPr lang="en-US"/>
          </a:p>
        </p:txBody>
      </p:sp>
    </p:spTree>
    <p:extLst>
      <p:ext uri="{BB962C8B-B14F-4D97-AF65-F5344CB8AC3E}">
        <p14:creationId xmlns:p14="http://schemas.microsoft.com/office/powerpoint/2010/main" val="114680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ahoma" panose="020B0604030504040204" pitchFamily="34" charset="0"/>
                <a:ea typeface="Tahoma" panose="020B0604030504040204" pitchFamily="34" charset="0"/>
                <a:cs typeface="Tahoma" panose="020B0604030504040204" pitchFamily="34" charset="0"/>
              </a:rPr>
              <a:t>The counterargument should be the most common argument against the topic.  The goal for this slide is to address the counterargument in such a way as to actually strengthen the original topic.  Be sure to address each piece of evidence against the topic.  As you address each piece of evidence elaborate on the text found on the slide.  Remember to transition to the final slide, the action step.</a:t>
            </a:r>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50</a:t>
            </a:fld>
            <a:endParaRPr lang="en-US"/>
          </a:p>
        </p:txBody>
      </p:sp>
    </p:spTree>
    <p:extLst>
      <p:ext uri="{BB962C8B-B14F-4D97-AF65-F5344CB8AC3E}">
        <p14:creationId xmlns:p14="http://schemas.microsoft.com/office/powerpoint/2010/main" val="2222945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panose="020B0502020202020204" pitchFamily="34" charset="0"/>
                <a:ea typeface="Tahoma" panose="020B0604030504040204" pitchFamily="34" charset="0"/>
                <a:cs typeface="Tahoma" panose="020B0604030504040204" pitchFamily="34" charset="0"/>
              </a:rPr>
              <a:t>Dedicate this entire slide to the thesis statement.  It is the reason the speech is being given.  Use this time to reveal the three main points of the speech (slides 4,5,6) as an overview for the direction of the speech:</a:t>
            </a:r>
          </a:p>
          <a:p>
            <a:r>
              <a:rPr lang="en-US" dirty="0">
                <a:latin typeface="Century Gothic" panose="020B0502020202020204" pitchFamily="34" charset="0"/>
                <a:ea typeface="Tahoma" panose="020B0604030504040204" pitchFamily="34" charset="0"/>
                <a:cs typeface="Tahoma" panose="020B0604030504040204" pitchFamily="34" charset="0"/>
              </a:rPr>
              <a:t>-[type main point #1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entury Gothic" panose="020B0502020202020204" pitchFamily="34" charset="0"/>
                <a:ea typeface="Tahoma" panose="020B0604030504040204" pitchFamily="34" charset="0"/>
                <a:cs typeface="Tahoma" panose="020B0604030504040204" pitchFamily="34" charset="0"/>
              </a:rPr>
              <a:t>-[type main point #2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entury Gothic" panose="020B0502020202020204" pitchFamily="34" charset="0"/>
                <a:ea typeface="Tahoma" panose="020B0604030504040204" pitchFamily="34" charset="0"/>
                <a:cs typeface="Tahoma" panose="020B0604030504040204" pitchFamily="34" charset="0"/>
              </a:rPr>
              <a:t>-[type main point #3 here]</a:t>
            </a:r>
          </a:p>
          <a:p>
            <a:r>
              <a:rPr lang="en-US" dirty="0">
                <a:latin typeface="Century Gothic" panose="020B0502020202020204" pitchFamily="34" charset="0"/>
                <a:ea typeface="Tahoma" panose="020B0604030504040204" pitchFamily="34" charset="0"/>
                <a:cs typeface="Tahoma" panose="020B0604030504040204" pitchFamily="34" charset="0"/>
              </a:rPr>
              <a:t>Be sure to transition to the first main point and the next slide.</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7113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ahoma" panose="020B0604030504040204" pitchFamily="34" charset="0"/>
                <a:ea typeface="Tahoma" panose="020B0604030504040204" pitchFamily="34" charset="0"/>
                <a:cs typeface="Tahoma" panose="020B0604030504040204" pitchFamily="34" charset="0"/>
              </a:rPr>
              <a:t>The counterargument should be the most common argument against the topic.  The goal for this slide is to address the counterargument in such a way as to actually strengthen the original topic.  Be sure to address each piece of evidence against the topic.  As you address each piece of evidence elaborate on the text found on the slide.  Remember to transition to the final slide, the action step.</a:t>
            </a:r>
          </a:p>
          <a:p>
            <a:endParaRPr lang="en-US" dirty="0"/>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54</a:t>
            </a:fld>
            <a:endParaRPr lang="en-US"/>
          </a:p>
        </p:txBody>
      </p:sp>
    </p:spTree>
    <p:extLst>
      <p:ext uri="{BB962C8B-B14F-4D97-AF65-F5344CB8AC3E}">
        <p14:creationId xmlns:p14="http://schemas.microsoft.com/office/powerpoint/2010/main" val="303149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55</a:t>
            </a:fld>
            <a:endParaRPr lang="en-US"/>
          </a:p>
        </p:txBody>
      </p:sp>
    </p:spTree>
    <p:extLst>
      <p:ext uri="{BB962C8B-B14F-4D97-AF65-F5344CB8AC3E}">
        <p14:creationId xmlns:p14="http://schemas.microsoft.com/office/powerpoint/2010/main" val="2805031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56</a:t>
            </a:fld>
            <a:endParaRPr lang="en-US"/>
          </a:p>
        </p:txBody>
      </p:sp>
    </p:spTree>
    <p:extLst>
      <p:ext uri="{BB962C8B-B14F-4D97-AF65-F5344CB8AC3E}">
        <p14:creationId xmlns:p14="http://schemas.microsoft.com/office/powerpoint/2010/main" val="1277437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6AEB063-7F11-4E3B-BA52-07405B1C2D95}" type="slidenum">
              <a:rPr lang="en-US" smtClean="0"/>
              <a:t>57</a:t>
            </a:fld>
            <a:endParaRPr lang="en-US" dirty="0"/>
          </a:p>
        </p:txBody>
      </p:sp>
    </p:spTree>
    <p:extLst>
      <p:ext uri="{BB962C8B-B14F-4D97-AF65-F5344CB8AC3E}">
        <p14:creationId xmlns:p14="http://schemas.microsoft.com/office/powerpoint/2010/main" val="3790200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18105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81334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50201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7</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88973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2</a:t>
            </a:fld>
            <a:endParaRPr lang="en-US"/>
          </a:p>
        </p:txBody>
      </p:sp>
    </p:spTree>
    <p:extLst>
      <p:ext uri="{BB962C8B-B14F-4D97-AF65-F5344CB8AC3E}">
        <p14:creationId xmlns:p14="http://schemas.microsoft.com/office/powerpoint/2010/main" val="12350608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8</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18898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0545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05909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07210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2</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5261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1844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4</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793332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886319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292463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7</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856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s a type of AI that enables machines to generate new, original content. This can be anything from text to images to music, and it's all made possible by machine learning algorithms and large datasets</a:t>
            </a:r>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8</a:t>
            </a:fld>
            <a:endParaRPr lang="en-US"/>
          </a:p>
        </p:txBody>
      </p:sp>
    </p:spTree>
    <p:extLst>
      <p:ext uri="{BB962C8B-B14F-4D97-AF65-F5344CB8AC3E}">
        <p14:creationId xmlns:p14="http://schemas.microsoft.com/office/powerpoint/2010/main" val="2878411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8</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5224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59462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465926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2</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467481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110779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4</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983819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563995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66344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7</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400681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8</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53503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rom generating human-like text to creating new images and music, the possibilities are endless. Each type of </a:t>
            </a:r>
            <a:r>
              <a:rPr lang="en-US" dirty="0" err="1"/>
              <a:t>GenAI</a:t>
            </a:r>
            <a:r>
              <a:rPr lang="en-US" dirty="0"/>
              <a:t> has its own unique applications and use cases.</a:t>
            </a:r>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9</a:t>
            </a:fld>
            <a:endParaRPr lang="en-US"/>
          </a:p>
        </p:txBody>
      </p:sp>
    </p:spTree>
    <p:extLst>
      <p:ext uri="{BB962C8B-B14F-4D97-AF65-F5344CB8AC3E}">
        <p14:creationId xmlns:p14="http://schemas.microsoft.com/office/powerpoint/2010/main" val="41497101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164869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0</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78464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796568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2</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159262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357089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4</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24656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5</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822806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581423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7</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019761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8</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0626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D0492FF-2A8C-436C-8264-82E1BAAAAC1E}"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9</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20993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7" name="Google Shape;187;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Tahoma" panose="020B0604030504040204" pitchFamily="34" charset="0"/>
                <a:ea typeface="Tahoma" panose="020B0604030504040204" pitchFamily="34" charset="0"/>
                <a:cs typeface="Tahoma" panose="020B0604030504040204" pitchFamily="34" charset="0"/>
              </a:rPr>
              <a:t>Be specific and direct in the title. Use the subtitle to give the specific context of the speech.</a:t>
            </a:r>
          </a:p>
          <a:p>
            <a:r>
              <a:rPr lang="en-US" sz="1200" dirty="0">
                <a:latin typeface="Tahoma" panose="020B0604030504040204" pitchFamily="34" charset="0"/>
                <a:ea typeface="Tahoma" panose="020B0604030504040204" pitchFamily="34" charset="0"/>
                <a:cs typeface="Tahoma" panose="020B0604030504040204" pitchFamily="34" charset="0"/>
              </a:rPr>
              <a:t>-The goal should be to capture the audience’s attention which can be done with a quote, a startling statistic, or fact.  It is not necessary to include this attention getter on the slide.</a:t>
            </a:r>
            <a:endParaRPr lang="en-US" dirty="0"/>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46</a:t>
            </a:fld>
            <a:endParaRPr lang="en-US"/>
          </a:p>
        </p:txBody>
      </p:sp>
    </p:spTree>
    <p:extLst>
      <p:ext uri="{BB962C8B-B14F-4D97-AF65-F5344CB8AC3E}">
        <p14:creationId xmlns:p14="http://schemas.microsoft.com/office/powerpoint/2010/main" val="3666838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ahoma" panose="020B0604030504040204" pitchFamily="34" charset="0"/>
                <a:ea typeface="Tahoma" panose="020B0604030504040204" pitchFamily="34" charset="0"/>
                <a:cs typeface="Tahoma" panose="020B0604030504040204" pitchFamily="34" charset="0"/>
              </a:rPr>
              <a:t>Use the background points to post details that are not common knowledge, or that the audience will need to understand the context of the speech.</a:t>
            </a:r>
          </a:p>
          <a:p>
            <a:r>
              <a:rPr lang="en-US" dirty="0"/>
              <a:t>-Do not read these main points from the PowerPoint, instead elaborate on these points during the speech.</a:t>
            </a:r>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47</a:t>
            </a:fld>
            <a:endParaRPr lang="en-US"/>
          </a:p>
        </p:txBody>
      </p:sp>
    </p:spTree>
    <p:extLst>
      <p:ext uri="{BB962C8B-B14F-4D97-AF65-F5344CB8AC3E}">
        <p14:creationId xmlns:p14="http://schemas.microsoft.com/office/powerpoint/2010/main" val="75967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ahoma" panose="020B0604030504040204" pitchFamily="34" charset="0"/>
                <a:ea typeface="Tahoma" panose="020B0604030504040204" pitchFamily="34" charset="0"/>
                <a:cs typeface="Tahoma" panose="020B0604030504040204" pitchFamily="34" charset="0"/>
              </a:rPr>
              <a:t>The counterargument should be the most common argument against the topic.  The goal for this slide is to address the counterargument in such a way as to actually strengthen the original topic.  Be sure to address each piece of evidence against the topic.  As you address each piece of evidence elaborate on the text found on the slide.  Remember to transition to the final slide, the action step.</a:t>
            </a:r>
          </a:p>
          <a:p>
            <a:endParaRPr lang="en-US" dirty="0"/>
          </a:p>
        </p:txBody>
      </p:sp>
      <p:sp>
        <p:nvSpPr>
          <p:cNvPr id="4" name="Slide Number Placeholder 3"/>
          <p:cNvSpPr>
            <a:spLocks noGrp="1"/>
          </p:cNvSpPr>
          <p:nvPr>
            <p:ph type="sldNum" sz="quarter" idx="5"/>
          </p:nvPr>
        </p:nvSpPr>
        <p:spPr/>
        <p:txBody>
          <a:bodyPr/>
          <a:lstStyle/>
          <a:p>
            <a:fld id="{AD0492FF-2A8C-436C-8264-82E1BAAAAC1E}" type="slidenum">
              <a:rPr lang="en-US" smtClean="0"/>
              <a:pPr/>
              <a:t>48</a:t>
            </a:fld>
            <a:endParaRPr lang="en-US"/>
          </a:p>
        </p:txBody>
      </p:sp>
    </p:spTree>
    <p:extLst>
      <p:ext uri="{BB962C8B-B14F-4D97-AF65-F5344CB8AC3E}">
        <p14:creationId xmlns:p14="http://schemas.microsoft.com/office/powerpoint/2010/main" val="32686427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 Id="rId14" Type="http://schemas.openxmlformats.org/officeDocument/2006/relationships/image" Target="../media/image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61022" y="322580"/>
            <a:ext cx="7619365" cy="575310"/>
          </a:xfrm>
          <a:prstGeom prst="rect">
            <a:avLst/>
          </a:prstGeom>
        </p:spPr>
        <p:txBody>
          <a:bodyPr wrap="square" lIns="0" tIns="0" rIns="0" bIns="0">
            <a:spAutoFit/>
          </a:bodyPr>
          <a:lstStyle>
            <a:lvl1pPr>
              <a:defRPr sz="3600" b="0" i="0">
                <a:solidFill>
                  <a:srgbClr val="002384"/>
                </a:solidFill>
                <a:latin typeface="Arial MT"/>
                <a:cs typeface="Arial MT"/>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8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1/19/20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07073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400205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9/202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97659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87158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428325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08549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53270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5" name="Group 4">
            <a:extLst>
              <a:ext uri="{FF2B5EF4-FFF2-40B4-BE49-F238E27FC236}">
                <a16:creationId xmlns:a16="http://schemas.microsoft.com/office/drawing/2014/main" id="{3FD75F13-9023-E53E-068D-0DE1C3A3F9DE}"/>
              </a:ext>
            </a:extLst>
          </p:cNvPr>
          <p:cNvGrpSpPr/>
          <p:nvPr userDrawn="1"/>
        </p:nvGrpSpPr>
        <p:grpSpPr>
          <a:xfrm>
            <a:off x="667246" y="786655"/>
            <a:ext cx="1903700" cy="594469"/>
            <a:chOff x="-1341375" y="2360931"/>
            <a:chExt cx="1059076" cy="330718"/>
          </a:xfrm>
        </p:grpSpPr>
        <p:pic>
          <p:nvPicPr>
            <p:cNvPr id="6" name="Graphic 5">
              <a:extLst>
                <a:ext uri="{FF2B5EF4-FFF2-40B4-BE49-F238E27FC236}">
                  <a16:creationId xmlns:a16="http://schemas.microsoft.com/office/drawing/2014/main" id="{11481CD8-CA44-B796-2174-6097C4340D1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7" name="Graphic 6">
              <a:extLst>
                <a:ext uri="{FF2B5EF4-FFF2-40B4-BE49-F238E27FC236}">
                  <a16:creationId xmlns:a16="http://schemas.microsoft.com/office/drawing/2014/main" id="{DB9E8E50-0BAA-F9D9-58A4-3541F68525F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34970972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grpSp>
        <p:nvGrpSpPr>
          <p:cNvPr id="3" name="Group 2">
            <a:extLst>
              <a:ext uri="{FF2B5EF4-FFF2-40B4-BE49-F238E27FC236}">
                <a16:creationId xmlns:a16="http://schemas.microsoft.com/office/drawing/2014/main" id="{C699140A-4C29-D456-164A-025762B5ED41}"/>
              </a:ext>
            </a:extLst>
          </p:cNvPr>
          <p:cNvGrpSpPr/>
          <p:nvPr userDrawn="1"/>
        </p:nvGrpSpPr>
        <p:grpSpPr>
          <a:xfrm>
            <a:off x="1238250" y="6470471"/>
            <a:ext cx="9735378" cy="310817"/>
            <a:chOff x="1238250" y="6470471"/>
            <a:chExt cx="9735378" cy="310817"/>
          </a:xfrm>
        </p:grpSpPr>
        <p:cxnSp>
          <p:nvCxnSpPr>
            <p:cNvPr id="2" name="Straight Connector 1">
              <a:extLst>
                <a:ext uri="{FF2B5EF4-FFF2-40B4-BE49-F238E27FC236}">
                  <a16:creationId xmlns:a16="http://schemas.microsoft.com/office/drawing/2014/main" id="{686A7214-4C1A-8D03-D16D-C5457A78DAAA}"/>
                </a:ext>
              </a:extLst>
            </p:cNvPr>
            <p:cNvCxnSpPr>
              <a:cxnSpLocks/>
            </p:cNvCxnSpPr>
            <p:nvPr userDrawn="1"/>
          </p:nvCxnSpPr>
          <p:spPr>
            <a:xfrm>
              <a:off x="1238250" y="6470471"/>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C9BCB9D-39B0-43BE-B9FD-23B5DFF6F6DC}"/>
                </a:ext>
              </a:extLst>
            </p:cNvPr>
            <p:cNvSpPr txBox="1"/>
            <p:nvPr userDrawn="1"/>
          </p:nvSpPr>
          <p:spPr>
            <a:xfrm>
              <a:off x="1258128" y="6535067"/>
              <a:ext cx="9715500" cy="246221"/>
            </a:xfrm>
            <a:prstGeom prst="rect">
              <a:avLst/>
            </a:prstGeom>
            <a:noFill/>
          </p:spPr>
          <p:txBody>
            <a:bodyPr wrap="square">
              <a:spAutoFit/>
            </a:bodyPr>
            <a:lstStyle/>
            <a:p>
              <a:pPr algn="ctr"/>
              <a:r>
                <a:rPr lang="en-US" sz="1000"/>
                <a:t>The content and the program approach is strictly confidential to UNext. It is strictly forbidden to share any part of this program design approach with any third party</a:t>
              </a:r>
              <a:endParaRPr lang="en-IN" sz="1000"/>
            </a:p>
          </p:txBody>
        </p:sp>
      </p:grpSp>
    </p:spTree>
    <p:extLst>
      <p:ext uri="{BB962C8B-B14F-4D97-AF65-F5344CB8AC3E}">
        <p14:creationId xmlns:p14="http://schemas.microsoft.com/office/powerpoint/2010/main" val="3154681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31A80244-CC8E-EFF6-2439-DAB6C71B4F97}"/>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84002796-27EB-9A45-5274-960118A97BD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3207270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2384"/>
                </a:solidFill>
                <a:latin typeface="Arial MT"/>
                <a:cs typeface="Arial MT"/>
              </a:defRPr>
            </a:lvl1pPr>
          </a:lstStyle>
          <a:p>
            <a:endParaRPr/>
          </a:p>
        </p:txBody>
      </p:sp>
      <p:sp>
        <p:nvSpPr>
          <p:cNvPr id="3" name="Holder 3"/>
          <p:cNvSpPr>
            <a:spLocks noGrp="1"/>
          </p:cNvSpPr>
          <p:nvPr>
            <p:ph type="body" idx="1"/>
          </p:nvPr>
        </p:nvSpPr>
        <p:spPr>
          <a:xfrm>
            <a:off x="2969641" y="3038538"/>
            <a:ext cx="5879465" cy="2448560"/>
          </a:xfrm>
          <a:prstGeom prst="rect">
            <a:avLst/>
          </a:prstGeom>
        </p:spPr>
        <p:txBody>
          <a:bodyPr lIns="0" tIns="0" rIns="0" bIns="0"/>
          <a:lstStyle>
            <a:lvl1pPr>
              <a:defRPr sz="18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1/19/2026</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44574"/>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DFCF87AF-4B9E-4380-2EE0-642483F779F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65639522-DEAD-AEF8-54BE-DA77018B2B8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
        <p:nvSpPr>
          <p:cNvPr id="10" name="TextBox 9">
            <a:extLst>
              <a:ext uri="{FF2B5EF4-FFF2-40B4-BE49-F238E27FC236}">
                <a16:creationId xmlns:a16="http://schemas.microsoft.com/office/drawing/2014/main" id="{CD7C8DDA-B6A0-4FF8-B902-6160C197B0B7}"/>
              </a:ext>
            </a:extLst>
          </p:cNvPr>
          <p:cNvSpPr txBox="1"/>
          <p:nvPr userDrawn="1"/>
        </p:nvSpPr>
        <p:spPr>
          <a:xfrm>
            <a:off x="1050380" y="6550214"/>
            <a:ext cx="9715500" cy="261610"/>
          </a:xfrm>
          <a:prstGeom prst="rect">
            <a:avLst/>
          </a:prstGeom>
          <a:noFill/>
        </p:spPr>
        <p:txBody>
          <a:bodyPr wrap="square">
            <a:spAutoFit/>
          </a:bodyPr>
          <a:lstStyle/>
          <a:p>
            <a:r>
              <a:rPr lang="en-US" sz="1100"/>
              <a:t>The content and the program approach is strictly confidential. It is strictly forbidden to share any part of this program design approach with any third party</a:t>
            </a:r>
            <a:endParaRPr lang="en-IN" sz="1100"/>
          </a:p>
        </p:txBody>
      </p:sp>
    </p:spTree>
    <p:extLst>
      <p:ext uri="{BB962C8B-B14F-4D97-AF65-F5344CB8AC3E}">
        <p14:creationId xmlns:p14="http://schemas.microsoft.com/office/powerpoint/2010/main" val="14295335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046FDC2-98EC-EC85-66C8-1C9486821813}"/>
              </a:ext>
            </a:extLst>
          </p:cNvPr>
          <p:cNvGrpSpPr/>
          <p:nvPr userDrawn="1"/>
        </p:nvGrpSpPr>
        <p:grpSpPr>
          <a:xfrm>
            <a:off x="1238250" y="6470471"/>
            <a:ext cx="9735378" cy="310817"/>
            <a:chOff x="1238250" y="6470471"/>
            <a:chExt cx="9735378" cy="310817"/>
          </a:xfrm>
        </p:grpSpPr>
        <p:cxnSp>
          <p:nvCxnSpPr>
            <p:cNvPr id="3" name="Straight Connector 2">
              <a:extLst>
                <a:ext uri="{FF2B5EF4-FFF2-40B4-BE49-F238E27FC236}">
                  <a16:creationId xmlns:a16="http://schemas.microsoft.com/office/drawing/2014/main" id="{DA71CE87-3944-ECE5-C426-A96D7593373A}"/>
                </a:ext>
              </a:extLst>
            </p:cNvPr>
            <p:cNvCxnSpPr>
              <a:cxnSpLocks/>
            </p:cNvCxnSpPr>
            <p:nvPr userDrawn="1"/>
          </p:nvCxnSpPr>
          <p:spPr>
            <a:xfrm>
              <a:off x="1238250" y="6470471"/>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031EE79-7C03-BC57-BD45-0E774008584F}"/>
                </a:ext>
              </a:extLst>
            </p:cNvPr>
            <p:cNvSpPr txBox="1"/>
            <p:nvPr userDrawn="1"/>
          </p:nvSpPr>
          <p:spPr>
            <a:xfrm>
              <a:off x="1258128" y="6535067"/>
              <a:ext cx="9715500" cy="246221"/>
            </a:xfrm>
            <a:prstGeom prst="rect">
              <a:avLst/>
            </a:prstGeom>
            <a:noFill/>
          </p:spPr>
          <p:txBody>
            <a:bodyPr wrap="square">
              <a:spAutoFit/>
            </a:bodyPr>
            <a:lstStyle/>
            <a:p>
              <a:pPr algn="ctr"/>
              <a:r>
                <a:rPr lang="en-US" sz="1000"/>
                <a:t>The content and the program approach is strictly confidential to UNext. It is strictly forbidden to share any part of this program design approach with any third party</a:t>
              </a:r>
              <a:endParaRPr lang="en-IN" sz="1000"/>
            </a:p>
          </p:txBody>
        </p:sp>
      </p:grpSp>
    </p:spTree>
    <p:extLst>
      <p:ext uri="{BB962C8B-B14F-4D97-AF65-F5344CB8AC3E}">
        <p14:creationId xmlns:p14="http://schemas.microsoft.com/office/powerpoint/2010/main" val="334506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9684BAD0-8F60-6732-AA44-4AD50115CB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6F2B655-D427-A48D-44A4-DB6DD380E3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17521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9CB0E021-DB3F-11B7-F8A2-0C6C22D707F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65596E49-999D-8749-C6B1-813B3065F0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30748274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A5838161-DC2E-3ECD-B63F-132F7BC2912B}"/>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248EFC2A-6E23-EC0E-E951-0AF56EDEEE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4598223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2" name="Straight Connector 1">
            <a:extLst>
              <a:ext uri="{FF2B5EF4-FFF2-40B4-BE49-F238E27FC236}">
                <a16:creationId xmlns:a16="http://schemas.microsoft.com/office/drawing/2014/main" id="{8F0D801D-3C14-007D-0359-926700E0B5DC}"/>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E2A8C5A3-A3F5-7795-00B1-3614753EEA66}"/>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3515674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2" name="Straight Connector 1">
            <a:extLst>
              <a:ext uri="{FF2B5EF4-FFF2-40B4-BE49-F238E27FC236}">
                <a16:creationId xmlns:a16="http://schemas.microsoft.com/office/drawing/2014/main" id="{FFEBA1C5-BE07-7CC5-55A0-BD0D4F7DF4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36410AC4-CB7F-5AB3-15DC-DA28DF031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17822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451D801-93E6-5631-FC97-DF094799A38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7C6F108-F91B-4CB2-9DC6-C89959B3ED49}"/>
              </a:ext>
            </a:extLst>
          </p:cNvPr>
          <p:cNvSpPr txBox="1"/>
          <p:nvPr userDrawn="1"/>
        </p:nvSpPr>
        <p:spPr>
          <a:xfrm>
            <a:off x="1050380" y="6550214"/>
            <a:ext cx="9715500" cy="261610"/>
          </a:xfrm>
          <a:prstGeom prst="rect">
            <a:avLst/>
          </a:prstGeom>
          <a:noFill/>
        </p:spPr>
        <p:txBody>
          <a:bodyPr wrap="square">
            <a:spAutoFit/>
          </a:bodyPr>
          <a:lstStyle/>
          <a:p>
            <a:r>
              <a:rPr lang="en-US" sz="1100"/>
              <a:t>The content and the program approach is strictly confidential. It is strictly forbidden to share any part of this program design approach with any third party</a:t>
            </a:r>
            <a:endParaRPr lang="en-IN" sz="1100"/>
          </a:p>
        </p:txBody>
      </p:sp>
    </p:spTree>
    <p:extLst>
      <p:ext uri="{BB962C8B-B14F-4D97-AF65-F5344CB8AC3E}">
        <p14:creationId xmlns:p14="http://schemas.microsoft.com/office/powerpoint/2010/main" val="1229322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23930747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7BE3F80A-508A-5D10-2EA7-F0A809DD0072}"/>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062BDA33-F7A5-99E7-F4F2-3D7DF4EF9E1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879058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2384"/>
                </a:solidFill>
                <a:latin typeface="Arial MT"/>
                <a:cs typeface="Arial MT"/>
              </a:defRPr>
            </a:lvl1pPr>
          </a:lstStyle>
          <a:p>
            <a:endParaRPr/>
          </a:p>
        </p:txBody>
      </p:sp>
      <p:sp>
        <p:nvSpPr>
          <p:cNvPr id="3" name="Holder 3"/>
          <p:cNvSpPr>
            <a:spLocks noGrp="1"/>
          </p:cNvSpPr>
          <p:nvPr>
            <p:ph sz="half" idx="2"/>
          </p:nvPr>
        </p:nvSpPr>
        <p:spPr>
          <a:xfrm>
            <a:off x="522922" y="1318831"/>
            <a:ext cx="3748404" cy="4154170"/>
          </a:xfrm>
          <a:prstGeom prst="rect">
            <a:avLst/>
          </a:prstGeom>
        </p:spPr>
        <p:txBody>
          <a:bodyPr wrap="square" lIns="0" tIns="0" rIns="0" bIns="0">
            <a:spAutoFit/>
          </a:bodyPr>
          <a:lstStyle>
            <a:lvl1pPr>
              <a:defRPr sz="1800" b="0" i="0">
                <a:solidFill>
                  <a:schemeClr val="bg1"/>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1/19/2026</a:t>
            </a:fld>
            <a:endParaRPr lang="en-US"/>
          </a:p>
        </p:txBody>
      </p:sp>
      <p:sp>
        <p:nvSpPr>
          <p:cNvPr id="7" name="Holder 7"/>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4" name="Straight Connector 3">
            <a:extLst>
              <a:ext uri="{FF2B5EF4-FFF2-40B4-BE49-F238E27FC236}">
                <a16:creationId xmlns:a16="http://schemas.microsoft.com/office/drawing/2014/main" id="{58900CBA-0225-B4D8-F4E8-33C3AC80C329}"/>
              </a:ext>
            </a:extLst>
          </p:cNvPr>
          <p:cNvCxnSpPr>
            <a:cxnSpLocks/>
          </p:cNvCxnSpPr>
          <p:nvPr userDrawn="1"/>
        </p:nvCxnSpPr>
        <p:spPr>
          <a:xfrm>
            <a:off x="800100" y="6520168"/>
            <a:ext cx="8840857"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C4D1003-3B91-8D11-8603-9A04647D1B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56766" y="6290973"/>
            <a:ext cx="2152650" cy="457200"/>
          </a:xfrm>
          <a:prstGeom prst="rect">
            <a:avLst/>
          </a:prstGeom>
        </p:spPr>
      </p:pic>
    </p:spTree>
    <p:extLst>
      <p:ext uri="{BB962C8B-B14F-4D97-AF65-F5344CB8AC3E}">
        <p14:creationId xmlns:p14="http://schemas.microsoft.com/office/powerpoint/2010/main" val="3132862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EF58D-B62B-40BB-83AA-9D07CFC4ED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AC06D3-F571-4213-A2A4-6A1915120C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A10580-AD31-4B8F-8448-55A666AC1725}"/>
              </a:ext>
            </a:extLst>
          </p:cNvPr>
          <p:cNvSpPr>
            <a:spLocks noGrp="1"/>
          </p:cNvSpPr>
          <p:nvPr>
            <p:ph type="dt" sz="half" idx="10"/>
          </p:nvPr>
        </p:nvSpPr>
        <p:spPr/>
        <p:txBody>
          <a:bodyPr/>
          <a:lstStyle/>
          <a:p>
            <a:fld id="{0DAF61AA-5A98-4049-A93E-477E5505141A}" type="datetimeFigureOut">
              <a:rPr lang="en-US" smtClean="0"/>
              <a:pPr/>
              <a:t>1/19/2026</a:t>
            </a:fld>
            <a:endParaRPr lang="en-US" dirty="0"/>
          </a:p>
        </p:txBody>
      </p:sp>
      <p:sp>
        <p:nvSpPr>
          <p:cNvPr id="5" name="Footer Placeholder 4">
            <a:extLst>
              <a:ext uri="{FF2B5EF4-FFF2-40B4-BE49-F238E27FC236}">
                <a16:creationId xmlns:a16="http://schemas.microsoft.com/office/drawing/2014/main" id="{15EC99C8-515A-4FEA-9CD2-6D0BF46CF6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72AF1B-1868-4C05-B6C3-9EBF29A50ADD}"/>
              </a:ext>
            </a:extLst>
          </p:cNvPr>
          <p:cNvSpPr>
            <a:spLocks noGrp="1"/>
          </p:cNvSpPr>
          <p:nvPr>
            <p:ph type="sldNum" sz="quarter" idx="12"/>
          </p:nvPr>
        </p:nvSpPr>
        <p:spPr/>
        <p:txBody>
          <a:bodyPr/>
          <a:lstStyle/>
          <a:p>
            <a:fld id="{73B850FF-6169-4056-8077-06FFA93A5366}" type="slidenum">
              <a:rPr lang="en-US" smtClean="0"/>
              <a:pPr/>
              <a:t>‹#›</a:t>
            </a:fld>
            <a:endParaRPr lang="en-US"/>
          </a:p>
        </p:txBody>
      </p:sp>
    </p:spTree>
    <p:extLst>
      <p:ext uri="{BB962C8B-B14F-4D97-AF65-F5344CB8AC3E}">
        <p14:creationId xmlns:p14="http://schemas.microsoft.com/office/powerpoint/2010/main" val="3230433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D647A-67C7-4577-B6C2-A16AD87E73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BF28E94-15C7-4A78-92C9-64177A21F6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86A9C21-D368-4669-A960-5054DD7FD539}"/>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C3B4AC5F-94A7-485D-AC19-3EAFB03C2524}"/>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16CAD311-60AF-48E0-9BC4-4E14AEA3636B}"/>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461306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56BF-7775-4D55-8512-2AD2ABE9998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2464EEB-9721-46BD-85B3-43025EDFC43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3B151E5-478B-4650-B1E2-BADA42070A44}"/>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E1E6E4A6-9201-4436-A10D-DE55CCB0FC2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F5BC025B-471C-4522-A9F2-A0FDC1967F33}"/>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11110093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919EB-1593-48CB-BE44-C3FCC2EDA67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3424CA59-9BE1-4698-8B4E-BD9F4127B7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2F3CC9F-80A3-48A9-96A0-8E48FC07E847}"/>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6B80D65A-B690-44E2-8B52-91970634F8A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A5113948-3EBF-478A-B47E-3717159B7738}"/>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42729683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EE87B-49D5-4879-A9D3-E7DFCF899ED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B3FE014-8FC3-4CF5-9AE6-34A31548502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94EF4777-30DC-4D84-A706-08BFABA3F09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27688F1-F97D-4039-8E63-C7C223539A62}"/>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6" name="Footer Placeholder 5">
            <a:extLst>
              <a:ext uri="{FF2B5EF4-FFF2-40B4-BE49-F238E27FC236}">
                <a16:creationId xmlns:a16="http://schemas.microsoft.com/office/drawing/2014/main" id="{34C5DD82-5310-47B5-A362-26939C6F7EC7}"/>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4B8A3E68-8B99-4983-92AF-554FF54A9BD9}"/>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39332747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4D1CD-0061-4DAC-BD87-26EFF22AC09B}"/>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0A87C78-E43E-4289-A5F1-49D66BC4F8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38300B9-2F1F-4FA1-AF78-9DA592C9FAF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1637CA6B-3E1F-4EC1-9EF3-33F2A9A7F6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5794556-6E78-480C-8442-9207839A0C9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E8B56015-D4D2-4DEA-ADCD-81E8061899A6}"/>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8" name="Footer Placeholder 7">
            <a:extLst>
              <a:ext uri="{FF2B5EF4-FFF2-40B4-BE49-F238E27FC236}">
                <a16:creationId xmlns:a16="http://schemas.microsoft.com/office/drawing/2014/main" id="{D4E2C544-2665-4DA1-B7B7-18C502B39E50}"/>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B7B4829F-F4AF-4CB2-B3A9-13429D79BEEB}"/>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25950524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C83E9-4AB6-4D33-9FC9-6287965A94F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3245B6B-72C1-4D29-9519-0860E111E1B9}"/>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4" name="Footer Placeholder 3">
            <a:extLst>
              <a:ext uri="{FF2B5EF4-FFF2-40B4-BE49-F238E27FC236}">
                <a16:creationId xmlns:a16="http://schemas.microsoft.com/office/drawing/2014/main" id="{46E3B025-9ADA-41A1-AB9E-4E201FB6FA6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A6CA51EF-FE2D-4787-8CB0-58E8EBFD13EA}"/>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20028022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22F21BE-5350-E536-4E68-EDC414AD7CF6}"/>
              </a:ext>
            </a:extLst>
          </p:cNvPr>
          <p:cNvGrpSpPr/>
          <p:nvPr userDrawn="1"/>
        </p:nvGrpSpPr>
        <p:grpSpPr>
          <a:xfrm>
            <a:off x="1238250" y="6470471"/>
            <a:ext cx="9735378" cy="310817"/>
            <a:chOff x="1238250" y="6470471"/>
            <a:chExt cx="9735378" cy="310817"/>
          </a:xfrm>
        </p:grpSpPr>
        <p:cxnSp>
          <p:nvCxnSpPr>
            <p:cNvPr id="10" name="Straight Connector 9">
              <a:extLst>
                <a:ext uri="{FF2B5EF4-FFF2-40B4-BE49-F238E27FC236}">
                  <a16:creationId xmlns:a16="http://schemas.microsoft.com/office/drawing/2014/main" id="{EB57E507-0A53-9D12-4CE2-35123FAA4210}"/>
                </a:ext>
              </a:extLst>
            </p:cNvPr>
            <p:cNvCxnSpPr>
              <a:cxnSpLocks/>
            </p:cNvCxnSpPr>
            <p:nvPr userDrawn="1"/>
          </p:nvCxnSpPr>
          <p:spPr>
            <a:xfrm>
              <a:off x="1238250" y="6470471"/>
              <a:ext cx="9715500" cy="0"/>
            </a:xfrm>
            <a:prstGeom prst="line">
              <a:avLst/>
            </a:prstGeom>
            <a:noFill/>
            <a:ln w="6350" cap="flat" cmpd="sng" algn="ctr">
              <a:solidFill>
                <a:srgbClr val="FF6600"/>
              </a:solidFill>
              <a:prstDash val="solid"/>
              <a:miter lim="800000"/>
            </a:ln>
            <a:effectLst/>
          </p:spPr>
        </p:cxnSp>
        <p:sp>
          <p:nvSpPr>
            <p:cNvPr id="11" name="TextBox 10">
              <a:extLst>
                <a:ext uri="{FF2B5EF4-FFF2-40B4-BE49-F238E27FC236}">
                  <a16:creationId xmlns:a16="http://schemas.microsoft.com/office/drawing/2014/main" id="{E2016C3D-D09E-72E9-A22E-CBCB26D1298C}"/>
                </a:ext>
              </a:extLst>
            </p:cNvPr>
            <p:cNvSpPr txBox="1"/>
            <p:nvPr userDrawn="1"/>
          </p:nvSpPr>
          <p:spPr>
            <a:xfrm>
              <a:off x="1258128" y="6535067"/>
              <a:ext cx="9715500" cy="246221"/>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rPr>
                <a:t>The content and the program approach is strictly confidential to UNext. It is strictly forbidden to share any part of this program design approach with any third party</a:t>
              </a:r>
              <a:endParaRPr kumimoji="0" lang="en-IN" sz="1000" b="0" i="0" u="none" strike="noStrike" kern="0" cap="none" spc="0" normalizeH="0" baseline="0" noProof="0" dirty="0">
                <a:ln>
                  <a:noFill/>
                </a:ln>
                <a:solidFill>
                  <a:prstClr val="black"/>
                </a:solidFill>
                <a:effectLst/>
                <a:uLnTx/>
                <a:uFillTx/>
                <a:latin typeface="Arial"/>
              </a:endParaRPr>
            </a:p>
          </p:txBody>
        </p:sp>
      </p:grpSp>
      <p:pic>
        <p:nvPicPr>
          <p:cNvPr id="5" name="Image 5">
            <a:extLst>
              <a:ext uri="{FF2B5EF4-FFF2-40B4-BE49-F238E27FC236}">
                <a16:creationId xmlns:a16="http://schemas.microsoft.com/office/drawing/2014/main" id="{C57EF737-10FE-49E2-8372-16756A49A57B}"/>
              </a:ext>
            </a:extLst>
          </p:cNvPr>
          <p:cNvPicPr/>
          <p:nvPr userDrawn="1"/>
        </p:nvPicPr>
        <p:blipFill>
          <a:blip r:embed="rId2" cstate="print"/>
          <a:stretch>
            <a:fillRect/>
          </a:stretch>
        </p:blipFill>
        <p:spPr>
          <a:xfrm>
            <a:off x="11033760" y="6332380"/>
            <a:ext cx="1143000" cy="514949"/>
          </a:xfrm>
          <a:prstGeom prst="rect">
            <a:avLst/>
          </a:prstGeom>
        </p:spPr>
      </p:pic>
    </p:spTree>
    <p:extLst>
      <p:ext uri="{BB962C8B-B14F-4D97-AF65-F5344CB8AC3E}">
        <p14:creationId xmlns:p14="http://schemas.microsoft.com/office/powerpoint/2010/main" val="2981574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4E852-51C6-4585-90C2-2357C6BA14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C8D7FD2-7D58-4BEC-8BF4-FF057A1064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567B79DB-6C84-43BD-A81F-AD709B8C53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1B19FDA-5F3A-4B54-81E3-7805292DD2E9}"/>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6" name="Footer Placeholder 5">
            <a:extLst>
              <a:ext uri="{FF2B5EF4-FFF2-40B4-BE49-F238E27FC236}">
                <a16:creationId xmlns:a16="http://schemas.microsoft.com/office/drawing/2014/main" id="{018D5A8C-408C-42B8-9677-F7D5CA3F9263}"/>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3A197A01-537F-4DED-9BF7-99DF5438EA3D}"/>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1190503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Image 5">
            <a:extLst>
              <a:ext uri="{FF2B5EF4-FFF2-40B4-BE49-F238E27FC236}">
                <a16:creationId xmlns:a16="http://schemas.microsoft.com/office/drawing/2014/main" id="{FF94DBE4-A880-495E-BEEE-5B29FA0B87A3}"/>
              </a:ext>
            </a:extLst>
          </p:cNvPr>
          <p:cNvPicPr/>
          <p:nvPr userDrawn="1"/>
        </p:nvPicPr>
        <p:blipFill>
          <a:blip r:embed="rId2" cstate="print"/>
          <a:stretch>
            <a:fillRect/>
          </a:stretch>
        </p:blipFill>
        <p:spPr>
          <a:xfrm>
            <a:off x="10972800" y="6243955"/>
            <a:ext cx="1219200" cy="608965"/>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292E1-3393-49B5-B7B7-A2AE95B6FA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A1EA00EB-B34C-4639-A0E8-85C46976E55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1D145743-360A-463C-A072-F5031957E2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7C1BA9-653C-4BB4-9260-F7D69D055B6F}"/>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6" name="Footer Placeholder 5">
            <a:extLst>
              <a:ext uri="{FF2B5EF4-FFF2-40B4-BE49-F238E27FC236}">
                <a16:creationId xmlns:a16="http://schemas.microsoft.com/office/drawing/2014/main" id="{E2724009-C209-4703-AA0C-FE9125C4B4AB}"/>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902E9021-97F0-4CE8-8D99-EA3E61C0FD98}"/>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2384986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48742-8A18-4640-948F-61A3D0697585}"/>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0EDD01B-53F5-414D-A5E1-081D10DC53F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23ADA21-44B9-4271-989D-559F9108EBBA}"/>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8A88DFD5-88F5-420F-B7C0-43E28F1104A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0C8DA058-4DC6-4A18-94B8-3630854DF21D}"/>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25983475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63F43A-55B6-49E3-8FEB-4AA073E19CB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7C4856A-45C8-422D-9758-C16DF2B3CFE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B92E120-254C-4B75-95F1-1A99E6F0A30E}"/>
              </a:ext>
            </a:extLst>
          </p:cNvPr>
          <p:cNvSpPr>
            <a:spLocks noGrp="1"/>
          </p:cNvSpPr>
          <p:nvPr>
            <p:ph type="dt" sz="half" idx="10"/>
          </p:nvPr>
        </p:nvSpPr>
        <p:spPr/>
        <p:txBody>
          <a:body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BF5AD711-3A26-4238-85F2-A70B64ED63A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FB25E0B4-6D2F-4A53-AA35-BCD3BDE8AF01}"/>
              </a:ext>
            </a:extLst>
          </p:cNvPr>
          <p:cNvSpPr>
            <a:spLocks noGrp="1"/>
          </p:cNvSpPr>
          <p:nvPr>
            <p:ph type="sldNum" sz="quarter" idx="12"/>
          </p:nvPr>
        </p:nvSpPr>
        <p:spPr/>
        <p:txBody>
          <a:bodyPr/>
          <a:lstStyle/>
          <a:p>
            <a:fld id="{293C93AC-9892-475C-9A8B-A1FB4F35F37F}" type="slidenum">
              <a:rPr lang="en-IN" smtClean="0"/>
              <a:t>‹#›</a:t>
            </a:fld>
            <a:endParaRPr lang="en-IN" dirty="0"/>
          </a:p>
        </p:txBody>
      </p:sp>
    </p:spTree>
    <p:extLst>
      <p:ext uri="{BB962C8B-B14F-4D97-AF65-F5344CB8AC3E}">
        <p14:creationId xmlns:p14="http://schemas.microsoft.com/office/powerpoint/2010/main" val="36780436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735657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41422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330253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013598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9/202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662006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9/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208031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A82BF09-CF2B-99FF-5689-5BFDC7C6AC4E}"/>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9EF6EE6-C0F9-2DAD-FEFD-2E9429FE2E5E}"/>
              </a:ext>
            </a:extLst>
          </p:cNvPr>
          <p:cNvSpPr txBox="1"/>
          <p:nvPr userDrawn="1"/>
        </p:nvSpPr>
        <p:spPr>
          <a:xfrm>
            <a:off x="1050380" y="6550214"/>
            <a:ext cx="9715500" cy="261610"/>
          </a:xfrm>
          <a:prstGeom prst="rect">
            <a:avLst/>
          </a:prstGeom>
          <a:noFill/>
        </p:spPr>
        <p:txBody>
          <a:bodyPr wrap="square">
            <a:spAutoFit/>
          </a:bodyPr>
          <a:lstStyle/>
          <a:p>
            <a:r>
              <a:rPr lang="en-US" sz="1100" dirty="0">
                <a:latin typeface="Arial" panose="020B0604020202020204" pitchFamily="34" charset="0"/>
                <a:cs typeface="Arial" panose="020B0604020202020204" pitchFamily="34" charset="0"/>
              </a:rPr>
              <a:t>The content and the program approach is strictly confidential. It is strictly forbidden to share any part of this program design approach with any third party</a:t>
            </a:r>
            <a:endParaRPr lang="en-IN" sz="1100" dirty="0">
              <a:latin typeface="Arial" panose="020B0604020202020204" pitchFamily="34" charset="0"/>
              <a:cs typeface="Arial" panose="020B0604020202020204" pitchFamily="34" charset="0"/>
            </a:endParaRPr>
          </a:p>
        </p:txBody>
      </p:sp>
      <p:pic>
        <p:nvPicPr>
          <p:cNvPr id="7" name="Picture 6" descr="A logo on a black background&#10;&#10;AI-generated content may be incorrect.">
            <a:extLst>
              <a:ext uri="{FF2B5EF4-FFF2-40B4-BE49-F238E27FC236}">
                <a16:creationId xmlns:a16="http://schemas.microsoft.com/office/drawing/2014/main" id="{B24DCEA4-86AE-FE32-8C3F-AC4E9965229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1739"/>
          <a:stretch/>
        </p:blipFill>
        <p:spPr>
          <a:xfrm>
            <a:off x="10515600" y="6206801"/>
            <a:ext cx="1388229" cy="605023"/>
          </a:xfrm>
          <a:prstGeom prst="rect">
            <a:avLst/>
          </a:prstGeom>
        </p:spPr>
      </p:pic>
    </p:spTree>
    <p:extLst>
      <p:ext uri="{BB962C8B-B14F-4D97-AF65-F5344CB8AC3E}">
        <p14:creationId xmlns:p14="http://schemas.microsoft.com/office/powerpoint/2010/main" val="729920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1/19/2026</a:t>
            </a:fld>
            <a:endParaRPr lang="en-US"/>
          </a:p>
        </p:txBody>
      </p:sp>
      <p:sp>
        <p:nvSpPr>
          <p:cNvPr id="4" name="Holder 4"/>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a:p>
        </p:txBody>
      </p:sp>
      <p:pic>
        <p:nvPicPr>
          <p:cNvPr id="5" name="Image 5">
            <a:extLst>
              <a:ext uri="{FF2B5EF4-FFF2-40B4-BE49-F238E27FC236}">
                <a16:creationId xmlns:a16="http://schemas.microsoft.com/office/drawing/2014/main" id="{244BFBF7-68B8-4CA0-B1BB-4E3328320C2A}"/>
              </a:ext>
            </a:extLst>
          </p:cNvPr>
          <p:cNvPicPr/>
          <p:nvPr userDrawn="1"/>
        </p:nvPicPr>
        <p:blipFill>
          <a:blip r:embed="rId2" cstate="print"/>
          <a:stretch>
            <a:fillRect/>
          </a:stretch>
        </p:blipFill>
        <p:spPr>
          <a:xfrm>
            <a:off x="11059160" y="6309360"/>
            <a:ext cx="1132840" cy="54864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32498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637386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630482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222181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94735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17155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9/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59372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9/202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210083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1.xml"/><Relationship Id="rId2" Type="http://schemas.openxmlformats.org/officeDocument/2006/relationships/slideLayout" Target="../slideLayouts/slideLayout18.xml"/><Relationship Id="rId16" Type="http://schemas.openxmlformats.org/officeDocument/2006/relationships/theme" Target="../theme/theme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3.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25132" y="147574"/>
            <a:ext cx="11341735" cy="1118870"/>
          </a:xfrm>
          <a:prstGeom prst="rect">
            <a:avLst/>
          </a:prstGeom>
        </p:spPr>
        <p:txBody>
          <a:bodyPr wrap="square" lIns="0" tIns="0" rIns="0" bIns="0">
            <a:spAutoFit/>
          </a:bodyPr>
          <a:lstStyle>
            <a:lvl1pPr>
              <a:defRPr sz="3600" b="0" i="0">
                <a:solidFill>
                  <a:srgbClr val="002384"/>
                </a:solidFill>
                <a:latin typeface="Arial MT"/>
                <a:cs typeface="Arial MT"/>
              </a:defRPr>
            </a:lvl1pPr>
          </a:lstStyle>
          <a:p>
            <a:endParaRPr/>
          </a:p>
        </p:txBody>
      </p:sp>
      <p:grpSp>
        <p:nvGrpSpPr>
          <p:cNvPr id="10" name="Group 9">
            <a:extLst>
              <a:ext uri="{FF2B5EF4-FFF2-40B4-BE49-F238E27FC236}">
                <a16:creationId xmlns:a16="http://schemas.microsoft.com/office/drawing/2014/main" id="{A15E835B-FAAF-072B-2E1B-EDA2552C2DF3}"/>
              </a:ext>
            </a:extLst>
          </p:cNvPr>
          <p:cNvGrpSpPr/>
          <p:nvPr userDrawn="1"/>
        </p:nvGrpSpPr>
        <p:grpSpPr>
          <a:xfrm>
            <a:off x="1238250" y="6470471"/>
            <a:ext cx="9735378" cy="310817"/>
            <a:chOff x="1238250" y="6470471"/>
            <a:chExt cx="9735378" cy="310817"/>
          </a:xfrm>
        </p:grpSpPr>
        <p:cxnSp>
          <p:nvCxnSpPr>
            <p:cNvPr id="11" name="Straight Connector 10">
              <a:extLst>
                <a:ext uri="{FF2B5EF4-FFF2-40B4-BE49-F238E27FC236}">
                  <a16:creationId xmlns:a16="http://schemas.microsoft.com/office/drawing/2014/main" id="{72B83D60-4A53-C6A4-6D49-41ED127EB651}"/>
                </a:ext>
              </a:extLst>
            </p:cNvPr>
            <p:cNvCxnSpPr>
              <a:cxnSpLocks/>
            </p:cNvCxnSpPr>
            <p:nvPr userDrawn="1"/>
          </p:nvCxnSpPr>
          <p:spPr>
            <a:xfrm>
              <a:off x="1238250" y="6470471"/>
              <a:ext cx="9715500" cy="0"/>
            </a:xfrm>
            <a:prstGeom prst="line">
              <a:avLst/>
            </a:prstGeom>
            <a:noFill/>
            <a:ln w="6350" cap="flat" cmpd="sng" algn="ctr">
              <a:solidFill>
                <a:srgbClr val="FF6600"/>
              </a:solidFill>
              <a:prstDash val="solid"/>
              <a:miter lim="800000"/>
            </a:ln>
            <a:effectLst/>
          </p:spPr>
        </p:cxnSp>
        <p:sp>
          <p:nvSpPr>
            <p:cNvPr id="12" name="TextBox 11">
              <a:extLst>
                <a:ext uri="{FF2B5EF4-FFF2-40B4-BE49-F238E27FC236}">
                  <a16:creationId xmlns:a16="http://schemas.microsoft.com/office/drawing/2014/main" id="{970DC448-225F-E9AE-A8CE-E6BCCD4B7DA4}"/>
                </a:ext>
              </a:extLst>
            </p:cNvPr>
            <p:cNvSpPr txBox="1"/>
            <p:nvPr userDrawn="1"/>
          </p:nvSpPr>
          <p:spPr>
            <a:xfrm>
              <a:off x="1258128" y="6535067"/>
              <a:ext cx="9715500" cy="246221"/>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rPr>
                <a:t>The content and the program approach is strictly confidential to UNext. It is strictly forbidden to share any part of this program design approach with any third party</a:t>
              </a:r>
              <a:endParaRPr kumimoji="0" lang="en-IN" sz="1000" b="0" i="0" u="none" strike="noStrike" kern="0" cap="none" spc="0" normalizeH="0" baseline="0" noProof="0" dirty="0">
                <a:ln>
                  <a:noFill/>
                </a:ln>
                <a:solidFill>
                  <a:prstClr val="black"/>
                </a:solidFill>
                <a:effectLst/>
                <a:uLnTx/>
                <a:uFillTx/>
                <a:latin typeface="Arial"/>
              </a:endParaRPr>
            </a:p>
          </p:txBody>
        </p:sp>
      </p:grpSp>
      <p:pic>
        <p:nvPicPr>
          <p:cNvPr id="13" name="Picture 12" descr="A logo with a black background&#10;&#10;AI-generated content may be incorrect.">
            <a:extLst>
              <a:ext uri="{FF2B5EF4-FFF2-40B4-BE49-F238E27FC236}">
                <a16:creationId xmlns:a16="http://schemas.microsoft.com/office/drawing/2014/main" id="{9CC9CA0E-B6BD-BEAB-BF29-37E4132551D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9/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35136243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183885767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69"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6C1640-37B2-4CE6-93DA-C4C1DFF4C2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17A2C80-D000-475C-9E32-6D97B305FA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0ABA8FF-A2DE-4614-91C6-942065D930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0435BE-519E-496C-BCC7-5A9246322E15}" type="datetimeFigureOut">
              <a:rPr lang="en-IN" smtClean="0"/>
              <a:t>19-01-2026</a:t>
            </a:fld>
            <a:endParaRPr lang="en-IN" dirty="0"/>
          </a:p>
        </p:txBody>
      </p:sp>
      <p:sp>
        <p:nvSpPr>
          <p:cNvPr id="5" name="Footer Placeholder 4">
            <a:extLst>
              <a:ext uri="{FF2B5EF4-FFF2-40B4-BE49-F238E27FC236}">
                <a16:creationId xmlns:a16="http://schemas.microsoft.com/office/drawing/2014/main" id="{F6813233-693A-46DC-BE99-48A20D48FE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AFC596DF-6471-48F9-8268-62402C5DC7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3C93AC-9892-475C-9A8B-A1FB4F35F37F}" type="slidenum">
              <a:rPr lang="en-IN" smtClean="0"/>
              <a:t>‹#›</a:t>
            </a:fld>
            <a:endParaRPr lang="en-IN" dirty="0"/>
          </a:p>
        </p:txBody>
      </p:sp>
    </p:spTree>
    <p:extLst>
      <p:ext uri="{BB962C8B-B14F-4D97-AF65-F5344CB8AC3E}">
        <p14:creationId xmlns:p14="http://schemas.microsoft.com/office/powerpoint/2010/main" val="398244756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9/2026</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651309712"/>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0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28.png"/><Relationship Id="rId1" Type="http://schemas.openxmlformats.org/officeDocument/2006/relationships/slideLayout" Target="../slideLayouts/slideLayout49.xml"/><Relationship Id="rId5" Type="http://schemas.openxmlformats.org/officeDocument/2006/relationships/image" Target="../media/image86.png"/><Relationship Id="rId4" Type="http://schemas.openxmlformats.org/officeDocument/2006/relationships/image" Target="../media/image8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png"/><Relationship Id="rId1" Type="http://schemas.openxmlformats.org/officeDocument/2006/relationships/slideLayout" Target="../slideLayouts/slideLayout38.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8" Type="http://schemas.openxmlformats.org/officeDocument/2006/relationships/hyperlink" Target="https://www.ibm.com/think/topics/large-language-models" TargetMode="External"/><Relationship Id="rId3" Type="http://schemas.openxmlformats.org/officeDocument/2006/relationships/hyperlink" Target="https://www.ibm.com/think/artificial-intelligence" TargetMode="External"/><Relationship Id="rId7" Type="http://schemas.openxmlformats.org/officeDocument/2006/relationships/hyperlink" Target="https://www.ibm.com/think/topics/generative-ai" TargetMode="External"/><Relationship Id="rId2" Type="http://schemas.openxmlformats.org/officeDocument/2006/relationships/image" Target="../media/image1.png"/><Relationship Id="rId1" Type="http://schemas.openxmlformats.org/officeDocument/2006/relationships/slideLayout" Target="../slideLayouts/slideLayout38.xml"/><Relationship Id="rId6" Type="http://schemas.openxmlformats.org/officeDocument/2006/relationships/hyperlink" Target="https://www.ibm.com/think/insights/agentic-ai" TargetMode="External"/><Relationship Id="rId5" Type="http://schemas.openxmlformats.org/officeDocument/2006/relationships/hyperlink" Target="https://www.ibm.com/think/topics/ai-model" TargetMode="External"/><Relationship Id="rId10" Type="http://schemas.openxmlformats.org/officeDocument/2006/relationships/hyperlink" Target="https://www.ibm.com/think/topics/gpt" TargetMode="External"/><Relationship Id="rId4" Type="http://schemas.openxmlformats.org/officeDocument/2006/relationships/hyperlink" Target="https://www.ibm.com/think/topics/ai-orchestration" TargetMode="External"/><Relationship Id="rId9" Type="http://schemas.openxmlformats.org/officeDocument/2006/relationships/hyperlink" Target="https://www.ibm.com/think/topics/generative-ai-for-developer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hyperlink" Target="https://www.researchgate.net/publication/386461286_Stateful_Monitoring_and_Responsible_Deployment_of_AI_Agents" TargetMode="Externa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3" Type="http://schemas.openxmlformats.org/officeDocument/2006/relationships/hyperlink" Target="https://medium.com/ai-advances/agentic-rags-extending-rags-to-sql-databases-1509b25ca3e7" TargetMode="External"/><Relationship Id="rId2" Type="http://schemas.openxmlformats.org/officeDocument/2006/relationships/hyperlink" Target="https://medium.com/datadriveninvestor/generative-ai-llmops-deployment-architecture-patterns-6d45d1668aba" TargetMode="External"/><Relationship Id="rId1" Type="http://schemas.openxmlformats.org/officeDocument/2006/relationships/slideLayout" Target="../slideLayouts/slideLayout4.xml"/><Relationship Id="rId4" Type="http://schemas.openxmlformats.org/officeDocument/2006/relationships/image" Target="../media/image70.jpeg"/></Relationships>
</file>

<file path=ppt/slides/_rels/slide44.xml.rels><?xml version="1.0" encoding="UTF-8" standalone="yes"?>
<Relationships xmlns="http://schemas.openxmlformats.org/package/2006/relationships"><Relationship Id="rId3" Type="http://schemas.openxmlformats.org/officeDocument/2006/relationships/hyperlink" Target="https://medium.com/datadriveninvestor/generative-ai-llmops-deployment-architecture-patterns-6d45d1668aba" TargetMode="External"/><Relationship Id="rId2" Type="http://schemas.openxmlformats.org/officeDocument/2006/relationships/image" Target="../media/image71.jpeg"/><Relationship Id="rId1" Type="http://schemas.openxmlformats.org/officeDocument/2006/relationships/slideLayout" Target="../slideLayouts/slideLayout4.xml"/><Relationship Id="rId4" Type="http://schemas.openxmlformats.org/officeDocument/2006/relationships/hyperlink" Target="https://medium.com/ai-advances/reinforcement-learning-agents-for-industrial-control-systems-b917b513f0c4"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hyperlink" Target="https://adk.wiki/tools/third-party/linear/" TargetMode="External"/><Relationship Id="rId7" Type="http://schemas.openxmlformats.org/officeDocument/2006/relationships/hyperlink" Target="https://en.wikipedia.org/wiki/Uber" TargetMode="External"/><Relationship Id="rId2"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75.png"/><Relationship Id="rId5" Type="http://schemas.openxmlformats.org/officeDocument/2006/relationships/hyperlink" Target="https://www.careerjet.gr/%CE%B5%CF%81%CE%B3%CE%B1%CF%83%CE%B9%CE%B1-hotel-guest-relation-agent/%CE%9C%CE%BF%CF%83%CF%87%CE%AC%CF%84%CE%BF" TargetMode="External"/><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8" Type="http://schemas.openxmlformats.org/officeDocument/2006/relationships/hyperlink" Target="https://www.ibm.com/think/insights/top-ai-agent-frameworks" TargetMode="External"/><Relationship Id="rId3" Type="http://schemas.openxmlformats.org/officeDocument/2006/relationships/image" Target="../media/image1.png"/><Relationship Id="rId7" Type="http://schemas.openxmlformats.org/officeDocument/2006/relationships/hyperlink" Target="https://www.ibm.com/think/topics/ai-agents" TargetMode="External"/><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hyperlink" Target="https://www.ibm.com/think/topics/interoperability" TargetMode="External"/><Relationship Id="rId5" Type="http://schemas.openxmlformats.org/officeDocument/2006/relationships/hyperlink" Target="https://www.ibm.com/think/topics/multiagent-system" TargetMode="External"/><Relationship Id="rId4" Type="http://schemas.openxmlformats.org/officeDocument/2006/relationships/hyperlink" Target="https://www.ibm.com/think/topics/artificial-intelligence"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en.wikipedia.org/wiki/Uber" TargetMode="External"/><Relationship Id="rId3" Type="http://schemas.openxmlformats.org/officeDocument/2006/relationships/image" Target="../media/image73.png"/><Relationship Id="rId7"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hyperlink" Target="https://www.careerjet.gr/%CE%B5%CF%81%CE%B3%CE%B1%CF%83%CE%B9%CE%B1-hotel-guest-relation-agent/%CE%9C%CE%BF%CF%83%CF%87%CE%AC%CF%84%CE%BF" TargetMode="External"/><Relationship Id="rId5" Type="http://schemas.openxmlformats.org/officeDocument/2006/relationships/image" Target="../media/image74.png"/><Relationship Id="rId4" Type="http://schemas.openxmlformats.org/officeDocument/2006/relationships/hyperlink" Target="https://adk.wiki/tools/third-party/linear/" TargetMode="External"/></Relationships>
</file>

<file path=ppt/slides/_rels/slide56.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1.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hyperlink" Target="https://adk.wiki/tools/third-party/linear/" TargetMode="External"/><Relationship Id="rId7" Type="http://schemas.openxmlformats.org/officeDocument/2006/relationships/hyperlink" Target="https://en.wikipedia.org/wiki/Uber" TargetMode="External"/><Relationship Id="rId2"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75.png"/><Relationship Id="rId5" Type="http://schemas.openxmlformats.org/officeDocument/2006/relationships/hyperlink" Target="https://www.careerjet.gr/%CE%B5%CF%81%CE%B3%CE%B1%CF%83%CE%B9%CE%B1-hotel-guest-relation-agent/%CE%9C%CE%BF%CF%83%CF%87%CE%AC%CF%84%CE%BF" TargetMode="External"/><Relationship Id="rId4" Type="http://schemas.openxmlformats.org/officeDocument/2006/relationships/image" Target="../media/image74.png"/></Relationships>
</file>

<file path=ppt/slides/_rels/slide5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png"/><Relationship Id="rId7" Type="http://schemas.openxmlformats.org/officeDocument/2006/relationships/diagramColors" Target="../diagrams/colors6.xml"/><Relationship Id="rId2" Type="http://schemas.openxmlformats.org/officeDocument/2006/relationships/notesSlide" Target="../notesSlides/notesSlide16.xml"/><Relationship Id="rId1" Type="http://schemas.openxmlformats.org/officeDocument/2006/relationships/slideLayout" Target="../slideLayouts/slideLayout38.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jpeg"/><Relationship Id="rId1" Type="http://schemas.openxmlformats.org/officeDocument/2006/relationships/slideLayout" Target="../slideLayouts/slideLayout31.xml"/><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5.xml"/><Relationship Id="rId4" Type="http://schemas.openxmlformats.org/officeDocument/2006/relationships/image" Target="../media/image78.jpeg"/></Relationships>
</file>

<file path=ppt/slides/_rels/slide6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5.xml"/><Relationship Id="rId4" Type="http://schemas.openxmlformats.org/officeDocument/2006/relationships/image" Target="../media/image78.jpeg"/></Relationships>
</file>

<file path=ppt/slides/_rels/slide6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5.xml"/><Relationship Id="rId4" Type="http://schemas.openxmlformats.org/officeDocument/2006/relationships/image" Target="../media/image78.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8.xml"/></Relationships>
</file>

<file path=ppt/slides/_rels/slide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7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82.png"/></Relationships>
</file>

<file path=ppt/slides/_rels/slide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hyperlink" Target="https://en.wikipedia.org/wiki/Model_Context_Protocol?utm_source=chatgpt.com" TargetMode="External"/><Relationship Id="rId4" Type="http://schemas.openxmlformats.org/officeDocument/2006/relationships/hyperlink" Target="https://www.kdnuggets.com/building-ai-agents-a2a-vs-mcp-explained-simply?utm_source=chatgpt.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0.xml"/><Relationship Id="rId1" Type="http://schemas.openxmlformats.org/officeDocument/2006/relationships/slideLayout" Target="../slideLayouts/slideLayout5.xml"/><Relationship Id="rId4" Type="http://schemas.openxmlformats.org/officeDocument/2006/relationships/image" Target="../media/image83.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38.xml"/><Relationship Id="rId4" Type="http://schemas.openxmlformats.org/officeDocument/2006/relationships/image" Target="../media/image36.png"/></Relationships>
</file>

<file path=ppt/slides/_rels/slide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hyperlink" Target="https://youtu.be/mFkw3p5qSuA?si=Nv7KawFQh4CjpOGV" TargetMode="External"/><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hyperlink" Target="https://www.geeksforgeeks.org/artificial-intelligence/model-context-protocol-mcp/" TargetMode="External"/><Relationship Id="rId5" Type="http://schemas.openxmlformats.org/officeDocument/2006/relationships/hyperlink" Target="https://www.ibm.com/think/topics/model-context-protocol#179371084" TargetMode="External"/><Relationship Id="rId4" Type="http://schemas.openxmlformats.org/officeDocument/2006/relationships/hyperlink" Target="https://www.ibm.com/think/topics/agent2agent-protocol#68492970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0"/>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t="-30941" r="-10680" b="-235"/>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Freeform 3"/>
          <p:cNvSpPr/>
          <p:nvPr/>
        </p:nvSpPr>
        <p:spPr>
          <a:xfrm>
            <a:off x="10897388" y="681033"/>
            <a:ext cx="608812" cy="608812"/>
          </a:xfrm>
          <a:custGeom>
            <a:avLst/>
            <a:gdLst/>
            <a:ahLst/>
            <a:cxnLst/>
            <a:rect l="l" t="t" r="r" b="b"/>
            <a:pathLst>
              <a:path w="913218" h="913218">
                <a:moveTo>
                  <a:pt x="0" y="0"/>
                </a:moveTo>
                <a:lnTo>
                  <a:pt x="913218" y="0"/>
                </a:lnTo>
                <a:lnTo>
                  <a:pt x="913218" y="913218"/>
                </a:lnTo>
                <a:lnTo>
                  <a:pt x="0" y="9132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IN"/>
          </a:p>
        </p:txBody>
      </p:sp>
      <p:sp>
        <p:nvSpPr>
          <p:cNvPr id="4" name="AutoShape 4"/>
          <p:cNvSpPr/>
          <p:nvPr/>
        </p:nvSpPr>
        <p:spPr>
          <a:xfrm>
            <a:off x="685800" y="6175375"/>
            <a:ext cx="10381235" cy="0"/>
          </a:xfrm>
          <a:prstGeom prst="line">
            <a:avLst/>
          </a:prstGeom>
          <a:ln w="9525" cap="flat">
            <a:solidFill>
              <a:srgbClr val="FFFFFF"/>
            </a:solidFill>
            <a:prstDash val="solid"/>
            <a:headEnd type="none" w="sm" len="sm"/>
            <a:tailEnd type="none" w="sm" len="sm"/>
          </a:ln>
        </p:spPr>
        <p:txBody>
          <a:bodyPr/>
          <a:lstStyle/>
          <a:p>
            <a:endParaRPr lang="en-IN"/>
          </a:p>
        </p:txBody>
      </p:sp>
      <p:sp>
        <p:nvSpPr>
          <p:cNvPr id="5" name="Freeform 5"/>
          <p:cNvSpPr/>
          <p:nvPr/>
        </p:nvSpPr>
        <p:spPr>
          <a:xfrm>
            <a:off x="685800" y="708566"/>
            <a:ext cx="2022202" cy="561161"/>
          </a:xfrm>
          <a:custGeom>
            <a:avLst/>
            <a:gdLst/>
            <a:ahLst/>
            <a:cxnLst/>
            <a:rect l="l" t="t" r="r" b="b"/>
            <a:pathLst>
              <a:path w="3033303" h="841742">
                <a:moveTo>
                  <a:pt x="0" y="0"/>
                </a:moveTo>
                <a:lnTo>
                  <a:pt x="3033303" y="0"/>
                </a:lnTo>
                <a:lnTo>
                  <a:pt x="3033303" y="841742"/>
                </a:lnTo>
                <a:lnTo>
                  <a:pt x="0" y="841742"/>
                </a:lnTo>
                <a:lnTo>
                  <a:pt x="0" y="0"/>
                </a:lnTo>
                <a:close/>
              </a:path>
            </a:pathLst>
          </a:custGeom>
          <a:blipFill>
            <a:blip r:embed="rId6"/>
            <a:stretch>
              <a:fillRect/>
            </a:stretch>
          </a:blipFill>
        </p:spPr>
        <p:txBody>
          <a:bodyPr/>
          <a:lstStyle/>
          <a:p>
            <a:endParaRPr lang="en-IN"/>
          </a:p>
        </p:txBody>
      </p:sp>
      <p:sp>
        <p:nvSpPr>
          <p:cNvPr id="12" name="TextBox 11">
            <a:extLst>
              <a:ext uri="{FF2B5EF4-FFF2-40B4-BE49-F238E27FC236}">
                <a16:creationId xmlns:a16="http://schemas.microsoft.com/office/drawing/2014/main" id="{593770D6-C5FD-4175-3D01-AE2B6816B0F4}"/>
              </a:ext>
            </a:extLst>
          </p:cNvPr>
          <p:cNvSpPr txBox="1"/>
          <p:nvPr/>
        </p:nvSpPr>
        <p:spPr>
          <a:xfrm>
            <a:off x="530926" y="2556482"/>
            <a:ext cx="9913554"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gentic </a:t>
            </a:r>
            <a:r>
              <a:rPr kumimoji="0" lang="en-US"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I Training</a:t>
            </a:r>
          </a:p>
        </p:txBody>
      </p:sp>
      <p:pic>
        <p:nvPicPr>
          <p:cNvPr id="15" name="Picture 14">
            <a:extLst>
              <a:ext uri="{FF2B5EF4-FFF2-40B4-BE49-F238E27FC236}">
                <a16:creationId xmlns:a16="http://schemas.microsoft.com/office/drawing/2014/main" id="{D51A7AA5-A7F7-607D-17B5-8FDE01317B90}"/>
              </a:ext>
            </a:extLst>
          </p:cNvPr>
          <p:cNvPicPr>
            <a:picLocks noChangeAspect="1"/>
          </p:cNvPicPr>
          <p:nvPr/>
        </p:nvPicPr>
        <p:blipFill>
          <a:blip r:embed="rId7"/>
          <a:srcRect r="56437" b="17830"/>
          <a:stretch/>
        </p:blipFill>
        <p:spPr>
          <a:xfrm>
            <a:off x="8843415" y="94103"/>
            <a:ext cx="3348585" cy="6763897"/>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Limitation of Gen AI</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Diagonal Corners Snipped 1">
            <a:extLst>
              <a:ext uri="{FF2B5EF4-FFF2-40B4-BE49-F238E27FC236}">
                <a16:creationId xmlns:a16="http://schemas.microsoft.com/office/drawing/2014/main" id="{E51E1714-CAC4-C1BB-8F1F-B1155406404F}"/>
              </a:ext>
            </a:extLst>
          </p:cNvPr>
          <p:cNvSpPr/>
          <p:nvPr/>
        </p:nvSpPr>
        <p:spPr>
          <a:xfrm>
            <a:off x="654518" y="1078029"/>
            <a:ext cx="10915048" cy="5072514"/>
          </a:xfrm>
          <a:prstGeom prst="snip2Diag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DB7F379-40E8-B97B-99B7-F58A57448E00}"/>
              </a:ext>
            </a:extLst>
          </p:cNvPr>
          <p:cNvSpPr txBox="1"/>
          <p:nvPr/>
        </p:nvSpPr>
        <p:spPr>
          <a:xfrm>
            <a:off x="835025" y="1598349"/>
            <a:ext cx="10500025" cy="4031873"/>
          </a:xfrm>
          <a:prstGeom prst="rect">
            <a:avLst/>
          </a:prstGeom>
          <a:noFill/>
        </p:spPr>
        <p:txBody>
          <a:bodyPr wrap="square">
            <a:spAutoFit/>
          </a:bodyPr>
          <a:lstStyle/>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It generates responses based on prompts but doesn't autonomously pursue long-term objectives or complete tasks without continuous prompting.</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Generative models usually lack persistent memory across sessions.</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Generative AI struggles with multi-step reasoning or breaking down complex tasks</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Generative AI doesn’t interact with external tools or systems (APIs, databases, web browsers) unless explicitly connected.</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ChatGPT or other LLMs just respond to prompts — no looped execution or self-initiated action.</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Generative AI is a single-agent model, not designed for coordination between multiple AI entities.</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US" sz="1600" dirty="0">
                <a:latin typeface="Arial" panose="020B0604020202020204" pitchFamily="34" charset="0"/>
                <a:cs typeface="Arial" panose="020B0604020202020204" pitchFamily="34" charset="0"/>
              </a:rPr>
              <a:t>LLMs may hallucinate but don’t typically verify or improve their answers over time.</a:t>
            </a:r>
          </a:p>
          <a:p>
            <a:pPr marL="342900" indent="-342900">
              <a:buFont typeface="Wingdings" panose="05000000000000000000" pitchFamily="2" charset="2"/>
              <a:buChar char="v"/>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516784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020202"/>
        </a:solidFill>
        <a:effectLst/>
      </p:bgPr>
    </p:bg>
    <p:spTree>
      <p:nvGrpSpPr>
        <p:cNvPr id="1" name=""/>
        <p:cNvGrpSpPr/>
        <p:nvPr/>
      </p:nvGrpSpPr>
      <p:grpSpPr>
        <a:xfrm>
          <a:off x="0" y="0"/>
          <a:ext cx="0" cy="0"/>
          <a:chOff x="0" y="0"/>
          <a:chExt cx="0" cy="0"/>
        </a:xfrm>
      </p:grpSpPr>
      <p:sp>
        <p:nvSpPr>
          <p:cNvPr id="7" name="Freeform 7"/>
          <p:cNvSpPr/>
          <p:nvPr/>
        </p:nvSpPr>
        <p:spPr>
          <a:xfrm>
            <a:off x="4573043" y="4274540"/>
            <a:ext cx="3045915" cy="845241"/>
          </a:xfrm>
          <a:custGeom>
            <a:avLst/>
            <a:gdLst/>
            <a:ahLst/>
            <a:cxnLst/>
            <a:rect l="l" t="t" r="r" b="b"/>
            <a:pathLst>
              <a:path w="4568873" h="1267862">
                <a:moveTo>
                  <a:pt x="0" y="0"/>
                </a:moveTo>
                <a:lnTo>
                  <a:pt x="4568874" y="0"/>
                </a:lnTo>
                <a:lnTo>
                  <a:pt x="4568874" y="1267863"/>
                </a:lnTo>
                <a:lnTo>
                  <a:pt x="0" y="1267863"/>
                </a:lnTo>
                <a:lnTo>
                  <a:pt x="0" y="0"/>
                </a:lnTo>
                <a:close/>
              </a:path>
            </a:pathLst>
          </a:custGeom>
          <a:blipFill>
            <a:blip r:embed="rId2"/>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9"/>
          <p:cNvSpPr txBox="1"/>
          <p:nvPr/>
        </p:nvSpPr>
        <p:spPr>
          <a:xfrm>
            <a:off x="3387256" y="2378304"/>
            <a:ext cx="5417489" cy="666849"/>
          </a:xfrm>
          <a:prstGeom prst="rect">
            <a:avLst/>
          </a:prstGeom>
        </p:spPr>
        <p:txBody>
          <a:bodyPr lIns="0" tIns="0" rIns="0" bIns="0" rtlCol="0" anchor="t">
            <a:spAutoFit/>
          </a:bodyPr>
          <a:lstStyle/>
          <a:p>
            <a:pPr marL="0" marR="0" lvl="0" indent="0" algn="ctr" defTabSz="609630" rtl="0" eaLnBrk="1" fontAlgn="auto" latinLnBrk="0" hangingPunct="1">
              <a:lnSpc>
                <a:spcPts val="5184"/>
              </a:lnSpc>
              <a:spcBef>
                <a:spcPts val="0"/>
              </a:spcBef>
              <a:spcAft>
                <a:spcPts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Arial Bold"/>
                <a:ea typeface="Arial Bold"/>
                <a:cs typeface="Arial Bold"/>
                <a:sym typeface="Arial Bold"/>
              </a:rPr>
              <a:t>Thank You</a:t>
            </a:r>
          </a:p>
        </p:txBody>
      </p:sp>
      <p:pic>
        <p:nvPicPr>
          <p:cNvPr id="11" name="Picture 10">
            <a:extLst>
              <a:ext uri="{FF2B5EF4-FFF2-40B4-BE49-F238E27FC236}">
                <a16:creationId xmlns:a16="http://schemas.microsoft.com/office/drawing/2014/main" id="{32D37E0A-1214-EC09-E9E1-E825EE108B77}"/>
              </a:ext>
            </a:extLst>
          </p:cNvPr>
          <p:cNvPicPr>
            <a:picLocks noChangeAspect="1"/>
          </p:cNvPicPr>
          <p:nvPr/>
        </p:nvPicPr>
        <p:blipFill>
          <a:blip r:embed="rId3"/>
          <a:srcRect l="32900" t="30819"/>
          <a:stretch/>
        </p:blipFill>
        <p:spPr>
          <a:xfrm>
            <a:off x="0" y="0"/>
            <a:ext cx="3072158" cy="3045153"/>
          </a:xfrm>
          <a:prstGeom prst="rect">
            <a:avLst/>
          </a:prstGeom>
        </p:spPr>
      </p:pic>
      <p:pic>
        <p:nvPicPr>
          <p:cNvPr id="12" name="Picture 11">
            <a:extLst>
              <a:ext uri="{FF2B5EF4-FFF2-40B4-BE49-F238E27FC236}">
                <a16:creationId xmlns:a16="http://schemas.microsoft.com/office/drawing/2014/main" id="{0AB35EA3-C07B-F7B6-7753-48774A6C138C}"/>
              </a:ext>
            </a:extLst>
          </p:cNvPr>
          <p:cNvPicPr>
            <a:picLocks noChangeAspect="1"/>
          </p:cNvPicPr>
          <p:nvPr/>
        </p:nvPicPr>
        <p:blipFill>
          <a:blip r:embed="rId4"/>
          <a:srcRect r="40386" b="23301"/>
          <a:stretch/>
        </p:blipFill>
        <p:spPr>
          <a:xfrm>
            <a:off x="8804745" y="1691080"/>
            <a:ext cx="3387255" cy="5166920"/>
          </a:xfrm>
          <a:prstGeom prst="rect">
            <a:avLst/>
          </a:prstGeom>
        </p:spPr>
      </p:pic>
      <p:pic>
        <p:nvPicPr>
          <p:cNvPr id="5" name="Picture 4" descr="A logo with a black background&#10;&#10;AI-generated content may be incorrect.">
            <a:extLst>
              <a:ext uri="{FF2B5EF4-FFF2-40B4-BE49-F238E27FC236}">
                <a16:creationId xmlns:a16="http://schemas.microsoft.com/office/drawing/2014/main" id="{DA93688E-E749-A919-8234-688F54F996C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24951" y="423719"/>
            <a:ext cx="615116" cy="719153"/>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graphicFrame>
        <p:nvGraphicFramePr>
          <p:cNvPr id="106" name="Google Shape;106;p15"/>
          <p:cNvGraphicFramePr/>
          <p:nvPr/>
        </p:nvGraphicFramePr>
        <p:xfrm>
          <a:off x="581025" y="2400300"/>
          <a:ext cx="11029925" cy="3095625"/>
        </p:xfrm>
        <a:graphic>
          <a:graphicData uri="http://schemas.openxmlformats.org/drawingml/2006/table">
            <a:tbl>
              <a:tblPr firstRow="1" bandRow="1">
                <a:noFill/>
              </a:tblPr>
              <a:tblGrid>
                <a:gridCol w="2764775">
                  <a:extLst>
                    <a:ext uri="{9D8B030D-6E8A-4147-A177-3AD203B41FA5}">
                      <a16:colId xmlns:a16="http://schemas.microsoft.com/office/drawing/2014/main" val="20000"/>
                    </a:ext>
                  </a:extLst>
                </a:gridCol>
                <a:gridCol w="3808950">
                  <a:extLst>
                    <a:ext uri="{9D8B030D-6E8A-4147-A177-3AD203B41FA5}">
                      <a16:colId xmlns:a16="http://schemas.microsoft.com/office/drawing/2014/main" val="20001"/>
                    </a:ext>
                  </a:extLst>
                </a:gridCol>
                <a:gridCol w="4456200">
                  <a:extLst>
                    <a:ext uri="{9D8B030D-6E8A-4147-A177-3AD203B41FA5}">
                      <a16:colId xmlns:a16="http://schemas.microsoft.com/office/drawing/2014/main" val="20002"/>
                    </a:ext>
                  </a:extLst>
                </a:gridCol>
              </a:tblGrid>
              <a:tr h="619125">
                <a:tc>
                  <a:txBody>
                    <a:bodyPr/>
                    <a:lstStyle/>
                    <a:p>
                      <a:pPr marL="0" marR="0" lvl="0" indent="0" algn="l" rtl="0">
                        <a:spcBef>
                          <a:spcPts val="0"/>
                        </a:spcBef>
                        <a:spcAft>
                          <a:spcPts val="0"/>
                        </a:spcAft>
                        <a:buNone/>
                      </a:pPr>
                      <a:r>
                        <a:rPr lang="en-US" sz="1500" b="1" i="0" u="none" strike="noStrike" cap="none">
                          <a:solidFill>
                            <a:schemeClr val="dk1"/>
                          </a:solidFill>
                          <a:latin typeface="Inter"/>
                          <a:ea typeface="Inter"/>
                          <a:cs typeface="Inter"/>
                          <a:sym typeface="Inter"/>
                        </a:rPr>
                        <a:t>Feature</a:t>
                      </a:r>
                      <a:endParaRPr>
                        <a:solidFill>
                          <a:schemeClr val="dk1"/>
                        </a:solidFill>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1" i="0" u="none" strike="noStrike" cap="none">
                          <a:solidFill>
                            <a:schemeClr val="dk1"/>
                          </a:solidFill>
                          <a:latin typeface="Inter"/>
                          <a:ea typeface="Inter"/>
                          <a:cs typeface="Inter"/>
                          <a:sym typeface="Inter"/>
                        </a:rPr>
                        <a:t>Traditional LLM</a:t>
                      </a:r>
                      <a:endParaRPr>
                        <a:solidFill>
                          <a:schemeClr val="dk1"/>
                        </a:solidFill>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1" i="0" u="none" strike="noStrike" cap="none">
                          <a:solidFill>
                            <a:schemeClr val="dk1"/>
                          </a:solidFill>
                          <a:latin typeface="Inter"/>
                          <a:ea typeface="Inter"/>
                          <a:cs typeface="Inter"/>
                          <a:sym typeface="Inter"/>
                        </a:rPr>
                        <a:t>Agentic LLM</a:t>
                      </a:r>
                      <a:endParaRPr>
                        <a:solidFill>
                          <a:schemeClr val="dk1"/>
                        </a:solidFill>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619125">
                <a:tc>
                  <a:txBody>
                    <a:bodyPr/>
                    <a:lstStyle/>
                    <a:p>
                      <a:pPr marL="0" marR="0" lvl="0" indent="0" algn="l" rtl="0">
                        <a:spcBef>
                          <a:spcPts val="0"/>
                        </a:spcBef>
                        <a:spcAft>
                          <a:spcPts val="0"/>
                        </a:spcAft>
                        <a:buNone/>
                      </a:pPr>
                      <a:r>
                        <a:rPr lang="en-US" sz="1500" b="0" i="0" u="none" strike="noStrike" cap="none" dirty="0">
                          <a:latin typeface="Inter"/>
                          <a:ea typeface="Inter"/>
                          <a:cs typeface="Inter"/>
                          <a:sym typeface="Inter"/>
                        </a:rPr>
                        <a:t>Response Type</a:t>
                      </a:r>
                      <a:endParaRPr dirty="0"/>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dirty="0">
                          <a:latin typeface="Inter"/>
                          <a:ea typeface="Inter"/>
                          <a:cs typeface="Inter"/>
                          <a:sym typeface="Inter"/>
                        </a:rPr>
                        <a:t>Static answers</a:t>
                      </a:r>
                      <a:endParaRPr dirty="0"/>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Dynamic actions</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619125">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Memory</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No memory (stateless)</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Persistent memory</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619125">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Capabilities</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No tools</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Can call tools/APIs</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619125">
                <a:tc>
                  <a:txBody>
                    <a:bodyPr/>
                    <a:lstStyle/>
                    <a:p>
                      <a:pPr marL="0" marR="0" lvl="0" indent="0" algn="l" rtl="0">
                        <a:spcBef>
                          <a:spcPts val="0"/>
                        </a:spcBef>
                        <a:spcAft>
                          <a:spcPts val="0"/>
                        </a:spcAft>
                        <a:buNone/>
                      </a:pPr>
                      <a:r>
                        <a:rPr lang="en-US" sz="1500" b="0" i="0" u="none" strike="noStrike" cap="none">
                          <a:latin typeface="Inter"/>
                          <a:ea typeface="Inter"/>
                          <a:cs typeface="Inter"/>
                          <a:sym typeface="Inter"/>
                        </a:rPr>
                        <a:t>Reasoning</a:t>
                      </a:r>
                      <a:endParaRPr/>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dirty="0">
                          <a:latin typeface="Inter"/>
                          <a:ea typeface="Inter"/>
                          <a:cs typeface="Inter"/>
                          <a:sym typeface="Inter"/>
                        </a:rPr>
                        <a:t>No planning</a:t>
                      </a:r>
                      <a:endParaRPr dirty="0"/>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None/>
                      </a:pPr>
                      <a:r>
                        <a:rPr lang="en-US" sz="1500" b="0" i="0" u="none" strike="noStrike" cap="none" dirty="0">
                          <a:latin typeface="Inter"/>
                          <a:ea typeface="Inter"/>
                          <a:cs typeface="Inter"/>
                          <a:sym typeface="Inter"/>
                        </a:rPr>
                        <a:t>Creates step-by-step plans</a:t>
                      </a:r>
                      <a:endParaRPr dirty="0"/>
                    </a:p>
                  </a:txBody>
                  <a:tcPr marL="63500" marR="63500" marT="25400" marB="254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107" name="Google Shape;107;p15"/>
          <p:cNvSpPr/>
          <p:nvPr/>
        </p:nvSpPr>
        <p:spPr>
          <a:xfrm>
            <a:off x="581025" y="3000375"/>
            <a:ext cx="2764780" cy="19050"/>
          </a:xfrm>
          <a:prstGeom prst="rect">
            <a:avLst/>
          </a:prstGeom>
          <a:solidFill>
            <a:srgbClr val="38BD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08" name="Google Shape;108;p15"/>
          <p:cNvSpPr/>
          <p:nvPr/>
        </p:nvSpPr>
        <p:spPr>
          <a:xfrm>
            <a:off x="3345805" y="3000375"/>
            <a:ext cx="3808958" cy="19050"/>
          </a:xfrm>
          <a:prstGeom prst="rect">
            <a:avLst/>
          </a:prstGeom>
          <a:solidFill>
            <a:srgbClr val="38BD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09" name="Google Shape;109;p15"/>
          <p:cNvSpPr/>
          <p:nvPr/>
        </p:nvSpPr>
        <p:spPr>
          <a:xfrm>
            <a:off x="7154763" y="3000375"/>
            <a:ext cx="4456211" cy="19050"/>
          </a:xfrm>
          <a:prstGeom prst="rect">
            <a:avLst/>
          </a:prstGeom>
          <a:solidFill>
            <a:srgbClr val="38BD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0" name="Google Shape;110;p15"/>
          <p:cNvSpPr/>
          <p:nvPr/>
        </p:nvSpPr>
        <p:spPr>
          <a:xfrm>
            <a:off x="581025" y="3633787"/>
            <a:ext cx="2764780"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1" name="Google Shape;111;p15"/>
          <p:cNvSpPr/>
          <p:nvPr/>
        </p:nvSpPr>
        <p:spPr>
          <a:xfrm>
            <a:off x="3345805" y="3633787"/>
            <a:ext cx="3808958"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2" name="Google Shape;112;p15"/>
          <p:cNvSpPr/>
          <p:nvPr/>
        </p:nvSpPr>
        <p:spPr>
          <a:xfrm>
            <a:off x="7154763" y="3633787"/>
            <a:ext cx="4456211"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3" name="Google Shape;113;p15"/>
          <p:cNvSpPr/>
          <p:nvPr/>
        </p:nvSpPr>
        <p:spPr>
          <a:xfrm>
            <a:off x="581025" y="4252912"/>
            <a:ext cx="2764780"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4" name="Google Shape;114;p15"/>
          <p:cNvSpPr/>
          <p:nvPr/>
        </p:nvSpPr>
        <p:spPr>
          <a:xfrm>
            <a:off x="3345805" y="4252912"/>
            <a:ext cx="3808958"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5" name="Google Shape;115;p15"/>
          <p:cNvSpPr/>
          <p:nvPr/>
        </p:nvSpPr>
        <p:spPr>
          <a:xfrm>
            <a:off x="7154763" y="4252912"/>
            <a:ext cx="4456211"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6" name="Google Shape;116;p15"/>
          <p:cNvSpPr/>
          <p:nvPr/>
        </p:nvSpPr>
        <p:spPr>
          <a:xfrm>
            <a:off x="581025" y="4872037"/>
            <a:ext cx="2764780"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7" name="Google Shape;117;p15"/>
          <p:cNvSpPr/>
          <p:nvPr/>
        </p:nvSpPr>
        <p:spPr>
          <a:xfrm>
            <a:off x="3345805" y="4872037"/>
            <a:ext cx="3808958"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8" name="Google Shape;118;p15"/>
          <p:cNvSpPr/>
          <p:nvPr/>
        </p:nvSpPr>
        <p:spPr>
          <a:xfrm>
            <a:off x="7154763" y="4872037"/>
            <a:ext cx="4456211" cy="9525"/>
          </a:xfrm>
          <a:prstGeom prst="rect">
            <a:avLst/>
          </a:prstGeom>
          <a:solidFill>
            <a:srgbClr val="47556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119" name="Google Shape;119;p15"/>
          <p:cNvSpPr txBox="1"/>
          <p:nvPr/>
        </p:nvSpPr>
        <p:spPr>
          <a:xfrm>
            <a:off x="2700337" y="581025"/>
            <a:ext cx="7130891" cy="5619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3600" b="1" i="0" u="none" strike="noStrike" cap="none">
                <a:solidFill>
                  <a:srgbClr val="38BDF8"/>
                </a:solidFill>
                <a:latin typeface="Inter"/>
                <a:ea typeface="Inter"/>
                <a:cs typeface="Inter"/>
                <a:sym typeface="Inter"/>
              </a:rPr>
              <a:t>Traditional LLM vs Agentic LLM</a:t>
            </a: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I Agent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Diagonal Corners Snipped 1">
            <a:extLst>
              <a:ext uri="{FF2B5EF4-FFF2-40B4-BE49-F238E27FC236}">
                <a16:creationId xmlns:a16="http://schemas.microsoft.com/office/drawing/2014/main" id="{E51E1714-CAC4-C1BB-8F1F-B1155406404F}"/>
              </a:ext>
            </a:extLst>
          </p:cNvPr>
          <p:cNvSpPr/>
          <p:nvPr/>
        </p:nvSpPr>
        <p:spPr>
          <a:xfrm>
            <a:off x="654518" y="1078029"/>
            <a:ext cx="6432082" cy="5072514"/>
          </a:xfrm>
          <a:prstGeom prst="snip2Diag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5DB7F379-40E8-B97B-99B7-F58A57448E00}"/>
              </a:ext>
            </a:extLst>
          </p:cNvPr>
          <p:cNvSpPr txBox="1"/>
          <p:nvPr/>
        </p:nvSpPr>
        <p:spPr>
          <a:xfrm>
            <a:off x="805294" y="1314643"/>
            <a:ext cx="5976506" cy="4929619"/>
          </a:xfrm>
          <a:prstGeom prst="rect">
            <a:avLst/>
          </a:prstGeom>
          <a:noFill/>
        </p:spPr>
        <p:txBody>
          <a:bodyPr wrap="square">
            <a:spAutoFit/>
          </a:bodyPr>
          <a:lstStyle/>
          <a:p>
            <a:pPr marL="12700" marR="92710">
              <a:lnSpc>
                <a:spcPct val="100800"/>
              </a:lnSpc>
              <a:spcBef>
                <a:spcPts val="85"/>
              </a:spcBef>
            </a:pPr>
            <a:r>
              <a:rPr lang="en-US" sz="1600" dirty="0">
                <a:solidFill>
                  <a:schemeClr val="tx1"/>
                </a:solidFill>
                <a:latin typeface="Arial" panose="020B0604020202020204" pitchFamily="34" charset="0"/>
                <a:cs typeface="Arial" panose="020B0604020202020204" pitchFamily="34" charset="0"/>
              </a:rPr>
              <a:t>AI agent is an autonomous entity capable of perceiving its environment, making decisions, and taking actions to achieve specific goals. Agents can vary in complexity from simple reactive agents that respond to stimuli to more advanced intelligent agents that learn and adapt over time. </a:t>
            </a:r>
          </a:p>
          <a:p>
            <a:pPr marL="12700" marR="92710">
              <a:lnSpc>
                <a:spcPct val="100800"/>
              </a:lnSpc>
              <a:spcBef>
                <a:spcPts val="85"/>
              </a:spcBef>
            </a:pPr>
            <a:endParaRPr lang="en-US" sz="1600" dirty="0">
              <a:solidFill>
                <a:schemeClr val="tx1"/>
              </a:solidFill>
              <a:latin typeface="Arial" panose="020B0604020202020204" pitchFamily="34" charset="0"/>
              <a:cs typeface="Arial" panose="020B0604020202020204" pitchFamily="34" charset="0"/>
            </a:endParaRPr>
          </a:p>
          <a:p>
            <a:pPr marL="12700" marR="92710">
              <a:lnSpc>
                <a:spcPct val="100800"/>
              </a:lnSpc>
              <a:spcBef>
                <a:spcPts val="85"/>
              </a:spcBef>
            </a:pPr>
            <a:r>
              <a:rPr lang="en-US" sz="1600" dirty="0">
                <a:solidFill>
                  <a:schemeClr val="tx1"/>
                </a:solidFill>
                <a:latin typeface="Arial" panose="020B0604020202020204" pitchFamily="34" charset="0"/>
                <a:cs typeface="Arial" panose="020B0604020202020204" pitchFamily="34" charset="0"/>
              </a:rPr>
              <a:t>Types of agents include:</a:t>
            </a:r>
          </a:p>
          <a:p>
            <a:pPr marL="12700" marR="92710">
              <a:lnSpc>
                <a:spcPct val="100800"/>
              </a:lnSpc>
              <a:spcBef>
                <a:spcPts val="85"/>
              </a:spcBef>
            </a:pPr>
            <a:endParaRPr lang="en-US" sz="1600" dirty="0">
              <a:solidFill>
                <a:schemeClr val="tx1"/>
              </a:solidFill>
              <a:latin typeface="Arial" panose="020B0604020202020204" pitchFamily="34" charset="0"/>
              <a:cs typeface="Arial" panose="020B0604020202020204" pitchFamily="34" charset="0"/>
            </a:endParaRPr>
          </a:p>
          <a:p>
            <a:pPr marL="12700" marR="92710">
              <a:lnSpc>
                <a:spcPct val="100800"/>
              </a:lnSpc>
              <a:spcBef>
                <a:spcPts val="85"/>
              </a:spcBef>
            </a:pPr>
            <a:r>
              <a:rPr lang="en-US" sz="1600" b="1" dirty="0">
                <a:solidFill>
                  <a:schemeClr val="tx1"/>
                </a:solidFill>
                <a:latin typeface="Arial" panose="020B0604020202020204" pitchFamily="34" charset="0"/>
                <a:cs typeface="Arial" panose="020B0604020202020204" pitchFamily="34" charset="0"/>
              </a:rPr>
              <a:t>Reactive Agents</a:t>
            </a:r>
            <a:r>
              <a:rPr lang="en-US" sz="1600" dirty="0">
                <a:solidFill>
                  <a:schemeClr val="tx1"/>
                </a:solidFill>
                <a:latin typeface="Arial" panose="020B0604020202020204" pitchFamily="34" charset="0"/>
                <a:cs typeface="Arial" panose="020B0604020202020204" pitchFamily="34" charset="0"/>
              </a:rPr>
              <a:t>: Respond directly to environmental changes without internal memory.</a:t>
            </a:r>
          </a:p>
          <a:p>
            <a:pPr marL="12700" marR="92710">
              <a:lnSpc>
                <a:spcPct val="100800"/>
              </a:lnSpc>
              <a:spcBef>
                <a:spcPts val="85"/>
              </a:spcBef>
            </a:pPr>
            <a:r>
              <a:rPr lang="en-US" sz="1600" b="1" dirty="0">
                <a:solidFill>
                  <a:schemeClr val="tx1"/>
                </a:solidFill>
                <a:latin typeface="Arial" panose="020B0604020202020204" pitchFamily="34" charset="0"/>
                <a:cs typeface="Arial" panose="020B0604020202020204" pitchFamily="34" charset="0"/>
              </a:rPr>
              <a:t>Model-Based Agents</a:t>
            </a:r>
            <a:r>
              <a:rPr lang="en-US" sz="1600" dirty="0">
                <a:solidFill>
                  <a:schemeClr val="tx1"/>
                </a:solidFill>
                <a:latin typeface="Arial" panose="020B0604020202020204" pitchFamily="34" charset="0"/>
                <a:cs typeface="Arial" panose="020B0604020202020204" pitchFamily="34" charset="0"/>
              </a:rPr>
              <a:t>: Use internal models of the world to make decisions.</a:t>
            </a:r>
          </a:p>
          <a:p>
            <a:pPr marL="12700" marR="92710">
              <a:lnSpc>
                <a:spcPct val="100800"/>
              </a:lnSpc>
              <a:spcBef>
                <a:spcPts val="85"/>
              </a:spcBef>
            </a:pPr>
            <a:r>
              <a:rPr lang="en-US" sz="1600" b="1" dirty="0">
                <a:solidFill>
                  <a:schemeClr val="tx1"/>
                </a:solidFill>
                <a:latin typeface="Arial" panose="020B0604020202020204" pitchFamily="34" charset="0"/>
                <a:cs typeface="Arial" panose="020B0604020202020204" pitchFamily="34" charset="0"/>
              </a:rPr>
              <a:t>Goal-Based Agents</a:t>
            </a:r>
            <a:r>
              <a:rPr lang="en-US" sz="1600" dirty="0">
                <a:solidFill>
                  <a:schemeClr val="tx1"/>
                </a:solidFill>
                <a:latin typeface="Arial" panose="020B0604020202020204" pitchFamily="34" charset="0"/>
                <a:cs typeface="Arial" panose="020B0604020202020204" pitchFamily="34" charset="0"/>
              </a:rPr>
              <a:t>: Plan actions based on achieving specific goals.</a:t>
            </a:r>
          </a:p>
          <a:p>
            <a:pPr marL="12700" marR="92710">
              <a:lnSpc>
                <a:spcPct val="100800"/>
              </a:lnSpc>
              <a:spcBef>
                <a:spcPts val="85"/>
              </a:spcBef>
            </a:pPr>
            <a:r>
              <a:rPr lang="en-US" sz="1600" dirty="0">
                <a:solidFill>
                  <a:schemeClr val="tx1"/>
                </a:solidFill>
                <a:latin typeface="Arial" panose="020B0604020202020204" pitchFamily="34" charset="0"/>
                <a:cs typeface="Arial" panose="020B0604020202020204" pitchFamily="34" charset="0"/>
              </a:rPr>
              <a:t>Utility-Based Agents: Evaluate potential actions based on a utility function to maximize outcomes.</a:t>
            </a:r>
          </a:p>
          <a:p>
            <a:pPr marL="12700" marR="92710">
              <a:lnSpc>
                <a:spcPct val="100800"/>
              </a:lnSpc>
              <a:spcBef>
                <a:spcPts val="85"/>
              </a:spcBef>
            </a:pPr>
            <a:endParaRPr lang="en-US" sz="1600" dirty="0">
              <a:solidFill>
                <a:schemeClr val="tx1"/>
              </a:solidFill>
              <a:latin typeface="Arial" panose="020B0604020202020204" pitchFamily="34" charset="0"/>
              <a:cs typeface="Arial" panose="020B0604020202020204" pitchFamily="34" charset="0"/>
            </a:endParaRPr>
          </a:p>
          <a:p>
            <a:pPr marL="12700" marR="92710">
              <a:lnSpc>
                <a:spcPct val="100800"/>
              </a:lnSpc>
              <a:spcBef>
                <a:spcPts val="85"/>
              </a:spcBef>
            </a:pPr>
            <a:endParaRPr lang="en-US" sz="1600" dirty="0">
              <a:solidFill>
                <a:schemeClr val="tx1"/>
              </a:solidFill>
              <a:latin typeface="Arial" panose="020B0604020202020204" pitchFamily="34" charset="0"/>
              <a:cs typeface="Arial" panose="020B0604020202020204" pitchFamily="34" charset="0"/>
            </a:endParaRPr>
          </a:p>
          <a:p>
            <a:pPr marL="12700" marR="92710">
              <a:lnSpc>
                <a:spcPct val="100800"/>
              </a:lnSpc>
              <a:spcBef>
                <a:spcPts val="85"/>
              </a:spcBef>
            </a:pPr>
            <a:endParaRPr lang="en-US" sz="1600" dirty="0">
              <a:solidFill>
                <a:schemeClr val="tx1"/>
              </a:solidFill>
              <a:latin typeface="Arial" panose="020B0604020202020204" pitchFamily="34" charset="0"/>
              <a:cs typeface="Arial" panose="020B0604020202020204" pitchFamily="34" charset="0"/>
            </a:endParaRPr>
          </a:p>
        </p:txBody>
      </p:sp>
      <p:pic>
        <p:nvPicPr>
          <p:cNvPr id="5" name="object 6">
            <a:extLst>
              <a:ext uri="{FF2B5EF4-FFF2-40B4-BE49-F238E27FC236}">
                <a16:creationId xmlns:a16="http://schemas.microsoft.com/office/drawing/2014/main" id="{BA8C294B-80E5-C20C-7811-B2ED77312BFB}"/>
              </a:ext>
            </a:extLst>
          </p:cNvPr>
          <p:cNvPicPr/>
          <p:nvPr/>
        </p:nvPicPr>
        <p:blipFill>
          <a:blip r:embed="rId3" cstate="print"/>
          <a:stretch>
            <a:fillRect/>
          </a:stretch>
        </p:blipFill>
        <p:spPr>
          <a:xfrm>
            <a:off x="7467600" y="2896903"/>
            <a:ext cx="4495800" cy="1434766"/>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9333526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AI 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6" name="Picture 4" descr="Agent process">
            <a:extLst>
              <a:ext uri="{FF2B5EF4-FFF2-40B4-BE49-F238E27FC236}">
                <a16:creationId xmlns:a16="http://schemas.microsoft.com/office/drawing/2014/main" id="{940D5252-86EC-5A92-74AD-5A82BC63A62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4049"/>
          <a:stretch/>
        </p:blipFill>
        <p:spPr bwMode="auto">
          <a:xfrm>
            <a:off x="928630" y="1524000"/>
            <a:ext cx="10334740" cy="3886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9872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pic>
        <p:nvPicPr>
          <p:cNvPr id="190" name="Google Shape;190;p20" descr="image.png"/>
          <p:cNvPicPr preferRelativeResize="0"/>
          <p:nvPr/>
        </p:nvPicPr>
        <p:blipFill rotWithShape="1">
          <a:blip r:embed="rId3">
            <a:alphaModFix/>
          </a:blip>
          <a:srcRect/>
          <a:stretch/>
        </p:blipFill>
        <p:spPr>
          <a:xfrm>
            <a:off x="581025" y="2673697"/>
            <a:ext cx="2543175" cy="2358330"/>
          </a:xfrm>
          <a:prstGeom prst="rect">
            <a:avLst/>
          </a:prstGeom>
          <a:noFill/>
          <a:ln>
            <a:noFill/>
          </a:ln>
        </p:spPr>
      </p:pic>
      <p:pic>
        <p:nvPicPr>
          <p:cNvPr id="191" name="Google Shape;191;p20" descr="image.png"/>
          <p:cNvPicPr preferRelativeResize="0"/>
          <p:nvPr/>
        </p:nvPicPr>
        <p:blipFill rotWithShape="1">
          <a:blip r:embed="rId4">
            <a:alphaModFix/>
          </a:blip>
          <a:srcRect/>
          <a:stretch/>
        </p:blipFill>
        <p:spPr>
          <a:xfrm>
            <a:off x="3409950" y="2673697"/>
            <a:ext cx="2543175" cy="2358330"/>
          </a:xfrm>
          <a:prstGeom prst="rect">
            <a:avLst/>
          </a:prstGeom>
          <a:noFill/>
          <a:ln>
            <a:noFill/>
          </a:ln>
        </p:spPr>
      </p:pic>
      <p:pic>
        <p:nvPicPr>
          <p:cNvPr id="192" name="Google Shape;192;p20" descr="image.png"/>
          <p:cNvPicPr preferRelativeResize="0"/>
          <p:nvPr/>
        </p:nvPicPr>
        <p:blipFill rotWithShape="1">
          <a:blip r:embed="rId5">
            <a:alphaModFix/>
          </a:blip>
          <a:srcRect/>
          <a:stretch/>
        </p:blipFill>
        <p:spPr>
          <a:xfrm>
            <a:off x="6238875" y="2673697"/>
            <a:ext cx="2543175" cy="2358330"/>
          </a:xfrm>
          <a:prstGeom prst="rect">
            <a:avLst/>
          </a:prstGeom>
          <a:noFill/>
          <a:ln>
            <a:noFill/>
          </a:ln>
        </p:spPr>
      </p:pic>
      <p:pic>
        <p:nvPicPr>
          <p:cNvPr id="193" name="Google Shape;193;p20" descr="image.png"/>
          <p:cNvPicPr preferRelativeResize="0"/>
          <p:nvPr/>
        </p:nvPicPr>
        <p:blipFill rotWithShape="1">
          <a:blip r:embed="rId6">
            <a:alphaModFix/>
          </a:blip>
          <a:srcRect/>
          <a:stretch/>
        </p:blipFill>
        <p:spPr>
          <a:xfrm>
            <a:off x="9067800" y="2673697"/>
            <a:ext cx="2543175" cy="2358330"/>
          </a:xfrm>
          <a:prstGeom prst="rect">
            <a:avLst/>
          </a:prstGeom>
          <a:noFill/>
          <a:ln>
            <a:noFill/>
          </a:ln>
        </p:spPr>
      </p:pic>
      <p:sp>
        <p:nvSpPr>
          <p:cNvPr id="194" name="Google Shape;194;p20"/>
          <p:cNvSpPr txBox="1"/>
          <p:nvPr/>
        </p:nvSpPr>
        <p:spPr>
          <a:xfrm>
            <a:off x="827484" y="3721447"/>
            <a:ext cx="2050256" cy="32385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100" b="1" i="0" u="none" strike="noStrike" cap="none">
                <a:solidFill>
                  <a:srgbClr val="F8FAFC"/>
                </a:solidFill>
                <a:latin typeface="Inter"/>
                <a:ea typeface="Inter"/>
                <a:cs typeface="Inter"/>
                <a:sym typeface="Inter"/>
              </a:rPr>
              <a:t>Perception</a:t>
            </a:r>
            <a:endParaRPr/>
          </a:p>
        </p:txBody>
      </p:sp>
      <p:sp>
        <p:nvSpPr>
          <p:cNvPr id="195" name="Google Shape;195;p20"/>
          <p:cNvSpPr txBox="1"/>
          <p:nvPr/>
        </p:nvSpPr>
        <p:spPr>
          <a:xfrm>
            <a:off x="876300" y="4188172"/>
            <a:ext cx="1952625" cy="274290"/>
          </a:xfrm>
          <a:prstGeom prst="rect">
            <a:avLst/>
          </a:prstGeom>
          <a:noFill/>
          <a:ln>
            <a:noFill/>
          </a:ln>
        </p:spPr>
        <p:txBody>
          <a:bodyPr spcFirstLastPara="1" wrap="square" lIns="0" tIns="0" rIns="0" bIns="0" anchor="t" anchorCtr="0">
            <a:spAutoFit/>
          </a:bodyPr>
          <a:lstStyle/>
          <a:p>
            <a:pPr marL="0" marR="0" lvl="0" indent="0" algn="ctr" rtl="0">
              <a:lnSpc>
                <a:spcPct val="160000"/>
              </a:lnSpc>
              <a:spcBef>
                <a:spcPts val="0"/>
              </a:spcBef>
              <a:spcAft>
                <a:spcPts val="0"/>
              </a:spcAft>
              <a:buNone/>
            </a:pPr>
            <a:r>
              <a:rPr lang="en-US" sz="1350" b="0" i="0" u="none" strike="noStrike" cap="none">
                <a:solidFill>
                  <a:srgbClr val="CBD5E1"/>
                </a:solidFill>
                <a:latin typeface="Inter"/>
                <a:ea typeface="Inter"/>
                <a:cs typeface="Inter"/>
                <a:sym typeface="Inter"/>
              </a:rPr>
              <a:t>Input understanding.</a:t>
            </a:r>
            <a:endParaRPr/>
          </a:p>
        </p:txBody>
      </p:sp>
      <p:sp>
        <p:nvSpPr>
          <p:cNvPr id="196" name="Google Shape;196;p20"/>
          <p:cNvSpPr txBox="1"/>
          <p:nvPr/>
        </p:nvSpPr>
        <p:spPr>
          <a:xfrm>
            <a:off x="3656409" y="3721447"/>
            <a:ext cx="2050256" cy="32385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100" b="1" i="0" u="none" strike="noStrike" cap="none">
                <a:solidFill>
                  <a:srgbClr val="F8FAFC"/>
                </a:solidFill>
                <a:latin typeface="Inter"/>
                <a:ea typeface="Inter"/>
                <a:cs typeface="Inter"/>
                <a:sym typeface="Inter"/>
              </a:rPr>
              <a:t>Reasoning</a:t>
            </a:r>
            <a:endParaRPr/>
          </a:p>
        </p:txBody>
      </p:sp>
      <p:sp>
        <p:nvSpPr>
          <p:cNvPr id="197" name="Google Shape;197;p20"/>
          <p:cNvSpPr txBox="1"/>
          <p:nvPr/>
        </p:nvSpPr>
        <p:spPr>
          <a:xfrm>
            <a:off x="3705225" y="4188172"/>
            <a:ext cx="1952625" cy="548580"/>
          </a:xfrm>
          <a:prstGeom prst="rect">
            <a:avLst/>
          </a:prstGeom>
          <a:noFill/>
          <a:ln>
            <a:noFill/>
          </a:ln>
        </p:spPr>
        <p:txBody>
          <a:bodyPr spcFirstLastPara="1" wrap="square" lIns="0" tIns="0" rIns="0" bIns="0" anchor="t" anchorCtr="0">
            <a:spAutoFit/>
          </a:bodyPr>
          <a:lstStyle/>
          <a:p>
            <a:pPr marL="0" marR="0" lvl="0" indent="0" algn="ctr" rtl="0">
              <a:lnSpc>
                <a:spcPct val="160000"/>
              </a:lnSpc>
              <a:spcBef>
                <a:spcPts val="0"/>
              </a:spcBef>
              <a:spcAft>
                <a:spcPts val="0"/>
              </a:spcAft>
              <a:buNone/>
            </a:pPr>
            <a:r>
              <a:rPr lang="en-US" sz="1350" b="0" i="0" u="none" strike="noStrike" cap="none">
                <a:solidFill>
                  <a:srgbClr val="CBD5E1"/>
                </a:solidFill>
                <a:latin typeface="Inter"/>
                <a:ea typeface="Inter"/>
                <a:cs typeface="Inter"/>
                <a:sym typeface="Inter"/>
              </a:rPr>
              <a:t>LLM or rule-based logic.</a:t>
            </a:r>
            <a:endParaRPr/>
          </a:p>
        </p:txBody>
      </p:sp>
      <p:sp>
        <p:nvSpPr>
          <p:cNvPr id="198" name="Google Shape;198;p20"/>
          <p:cNvSpPr txBox="1"/>
          <p:nvPr/>
        </p:nvSpPr>
        <p:spPr>
          <a:xfrm>
            <a:off x="6485334" y="3721447"/>
            <a:ext cx="2050256" cy="32385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100" b="1" i="0" u="none" strike="noStrike" cap="none">
                <a:solidFill>
                  <a:srgbClr val="F8FAFC"/>
                </a:solidFill>
                <a:latin typeface="Inter"/>
                <a:ea typeface="Inter"/>
                <a:cs typeface="Inter"/>
                <a:sym typeface="Inter"/>
              </a:rPr>
              <a:t>Action</a:t>
            </a:r>
            <a:endParaRPr/>
          </a:p>
        </p:txBody>
      </p:sp>
      <p:sp>
        <p:nvSpPr>
          <p:cNvPr id="199" name="Google Shape;199;p20"/>
          <p:cNvSpPr txBox="1"/>
          <p:nvPr/>
        </p:nvSpPr>
        <p:spPr>
          <a:xfrm>
            <a:off x="6534150" y="4188172"/>
            <a:ext cx="1952625" cy="274290"/>
          </a:xfrm>
          <a:prstGeom prst="rect">
            <a:avLst/>
          </a:prstGeom>
          <a:noFill/>
          <a:ln>
            <a:noFill/>
          </a:ln>
        </p:spPr>
        <p:txBody>
          <a:bodyPr spcFirstLastPara="1" wrap="square" lIns="0" tIns="0" rIns="0" bIns="0" anchor="t" anchorCtr="0">
            <a:spAutoFit/>
          </a:bodyPr>
          <a:lstStyle/>
          <a:p>
            <a:pPr marL="0" marR="0" lvl="0" indent="0" algn="ctr" rtl="0">
              <a:lnSpc>
                <a:spcPct val="160000"/>
              </a:lnSpc>
              <a:spcBef>
                <a:spcPts val="0"/>
              </a:spcBef>
              <a:spcAft>
                <a:spcPts val="0"/>
              </a:spcAft>
              <a:buNone/>
            </a:pPr>
            <a:r>
              <a:rPr lang="en-US" sz="1350" b="0" i="0" u="none" strike="noStrike" cap="none">
                <a:solidFill>
                  <a:srgbClr val="CBD5E1"/>
                </a:solidFill>
                <a:latin typeface="Inter"/>
                <a:ea typeface="Inter"/>
                <a:cs typeface="Inter"/>
                <a:sym typeface="Inter"/>
              </a:rPr>
              <a:t>Tool execution.</a:t>
            </a:r>
            <a:endParaRPr/>
          </a:p>
        </p:txBody>
      </p:sp>
      <p:sp>
        <p:nvSpPr>
          <p:cNvPr id="200" name="Google Shape;200;p20"/>
          <p:cNvSpPr txBox="1"/>
          <p:nvPr/>
        </p:nvSpPr>
        <p:spPr>
          <a:xfrm>
            <a:off x="9314259" y="3721447"/>
            <a:ext cx="2050256" cy="32385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100" b="1" i="0" u="none" strike="noStrike" cap="none">
                <a:solidFill>
                  <a:srgbClr val="F8FAFC"/>
                </a:solidFill>
                <a:latin typeface="Inter"/>
                <a:ea typeface="Inter"/>
                <a:cs typeface="Inter"/>
                <a:sym typeface="Inter"/>
              </a:rPr>
              <a:t>Memory</a:t>
            </a:r>
            <a:endParaRPr/>
          </a:p>
        </p:txBody>
      </p:sp>
      <p:sp>
        <p:nvSpPr>
          <p:cNvPr id="201" name="Google Shape;201;p20"/>
          <p:cNvSpPr txBox="1"/>
          <p:nvPr/>
        </p:nvSpPr>
        <p:spPr>
          <a:xfrm>
            <a:off x="9363075" y="4188172"/>
            <a:ext cx="1952625" cy="548580"/>
          </a:xfrm>
          <a:prstGeom prst="rect">
            <a:avLst/>
          </a:prstGeom>
          <a:noFill/>
          <a:ln>
            <a:noFill/>
          </a:ln>
        </p:spPr>
        <p:txBody>
          <a:bodyPr spcFirstLastPara="1" wrap="square" lIns="0" tIns="0" rIns="0" bIns="0" anchor="t" anchorCtr="0">
            <a:spAutoFit/>
          </a:bodyPr>
          <a:lstStyle/>
          <a:p>
            <a:pPr marL="0" marR="0" lvl="0" indent="0" algn="ctr" rtl="0">
              <a:lnSpc>
                <a:spcPct val="160000"/>
              </a:lnSpc>
              <a:spcBef>
                <a:spcPts val="0"/>
              </a:spcBef>
              <a:spcAft>
                <a:spcPts val="0"/>
              </a:spcAft>
              <a:buNone/>
            </a:pPr>
            <a:r>
              <a:rPr lang="en-US" sz="1350" b="0" i="0" u="none" strike="noStrike" cap="none">
                <a:solidFill>
                  <a:srgbClr val="CBD5E1"/>
                </a:solidFill>
                <a:latin typeface="Inter"/>
                <a:ea typeface="Inter"/>
                <a:cs typeface="Inter"/>
                <a:sym typeface="Inter"/>
              </a:rPr>
              <a:t>Short-term + Long-term.</a:t>
            </a:r>
            <a:endParaRPr/>
          </a:p>
        </p:txBody>
      </p:sp>
      <p:pic>
        <p:nvPicPr>
          <p:cNvPr id="202" name="Google Shape;202;p20" descr="image.png"/>
          <p:cNvPicPr preferRelativeResize="0"/>
          <p:nvPr/>
        </p:nvPicPr>
        <p:blipFill rotWithShape="1">
          <a:blip r:embed="rId7">
            <a:alphaModFix/>
          </a:blip>
          <a:srcRect/>
          <a:stretch/>
        </p:blipFill>
        <p:spPr>
          <a:xfrm>
            <a:off x="1595437" y="3016597"/>
            <a:ext cx="514350" cy="457200"/>
          </a:xfrm>
          <a:prstGeom prst="rect">
            <a:avLst/>
          </a:prstGeom>
          <a:noFill/>
          <a:ln>
            <a:noFill/>
          </a:ln>
        </p:spPr>
      </p:pic>
      <p:pic>
        <p:nvPicPr>
          <p:cNvPr id="203" name="Google Shape;203;p20" descr="image.png"/>
          <p:cNvPicPr preferRelativeResize="0"/>
          <p:nvPr/>
        </p:nvPicPr>
        <p:blipFill rotWithShape="1">
          <a:blip r:embed="rId8">
            <a:alphaModFix/>
          </a:blip>
          <a:srcRect/>
          <a:stretch/>
        </p:blipFill>
        <p:spPr>
          <a:xfrm>
            <a:off x="4452937" y="3016597"/>
            <a:ext cx="457200" cy="457200"/>
          </a:xfrm>
          <a:prstGeom prst="rect">
            <a:avLst/>
          </a:prstGeom>
          <a:noFill/>
          <a:ln>
            <a:noFill/>
          </a:ln>
        </p:spPr>
      </p:pic>
      <p:pic>
        <p:nvPicPr>
          <p:cNvPr id="204" name="Google Shape;204;p20" descr="image.png"/>
          <p:cNvPicPr preferRelativeResize="0"/>
          <p:nvPr/>
        </p:nvPicPr>
        <p:blipFill rotWithShape="1">
          <a:blip r:embed="rId9">
            <a:alphaModFix/>
          </a:blip>
          <a:srcRect/>
          <a:stretch/>
        </p:blipFill>
        <p:spPr>
          <a:xfrm>
            <a:off x="7253287" y="3016597"/>
            <a:ext cx="514350" cy="457200"/>
          </a:xfrm>
          <a:prstGeom prst="rect">
            <a:avLst/>
          </a:prstGeom>
          <a:noFill/>
          <a:ln>
            <a:noFill/>
          </a:ln>
        </p:spPr>
      </p:pic>
      <p:pic>
        <p:nvPicPr>
          <p:cNvPr id="205" name="Google Shape;205;p20" descr="image.png"/>
          <p:cNvPicPr preferRelativeResize="0"/>
          <p:nvPr/>
        </p:nvPicPr>
        <p:blipFill rotWithShape="1">
          <a:blip r:embed="rId10">
            <a:alphaModFix/>
          </a:blip>
          <a:srcRect/>
          <a:stretch/>
        </p:blipFill>
        <p:spPr>
          <a:xfrm>
            <a:off x="10110787" y="3016597"/>
            <a:ext cx="457200" cy="457200"/>
          </a:xfrm>
          <a:prstGeom prst="rect">
            <a:avLst/>
          </a:prstGeom>
          <a:noFill/>
          <a:ln>
            <a:noFill/>
          </a:ln>
        </p:spPr>
      </p:pic>
      <p:sp>
        <p:nvSpPr>
          <p:cNvPr id="206" name="Google Shape;206;p20"/>
          <p:cNvSpPr txBox="1"/>
          <p:nvPr/>
        </p:nvSpPr>
        <p:spPr>
          <a:xfrm>
            <a:off x="4086225" y="581025"/>
            <a:ext cx="4220527" cy="56197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3600" b="1" i="0" u="none" strike="noStrike" cap="none">
                <a:solidFill>
                  <a:srgbClr val="38BDF8"/>
                </a:solidFill>
                <a:latin typeface="Inter"/>
                <a:ea typeface="Inter"/>
                <a:cs typeface="Inter"/>
                <a:sym typeface="Inter"/>
              </a:rPr>
              <a:t>Agent Capabilities</a:t>
            </a: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2" name="Picture 2">
            <a:extLst>
              <a:ext uri="{FF2B5EF4-FFF2-40B4-BE49-F238E27FC236}">
                <a16:creationId xmlns:a16="http://schemas.microsoft.com/office/drawing/2014/main" id="{1B209675-F1C3-74E2-920D-6596BC1BCAB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 y="1031266"/>
            <a:ext cx="10972800" cy="435482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3B119AC-3048-95CD-3CDF-7F6965F64464}"/>
              </a:ext>
            </a:extLst>
          </p:cNvPr>
          <p:cNvSpPr txBox="1"/>
          <p:nvPr/>
        </p:nvSpPr>
        <p:spPr>
          <a:xfrm>
            <a:off x="609600" y="5780858"/>
            <a:ext cx="8610600" cy="369332"/>
          </a:xfrm>
          <a:prstGeom prst="rect">
            <a:avLst/>
          </a:prstGeom>
          <a:noFill/>
        </p:spPr>
        <p:txBody>
          <a:bodyPr wrap="square">
            <a:spAutoFit/>
          </a:bodyPr>
          <a:lstStyle/>
          <a:p>
            <a:r>
              <a:rPr lang="x-none" dirty="0"/>
              <a:t>Source: https://lilianweng.github.io/posts/2023-06-23-agent/</a:t>
            </a:r>
          </a:p>
        </p:txBody>
      </p:sp>
    </p:spTree>
    <p:extLst>
      <p:ext uri="{BB962C8B-B14F-4D97-AF65-F5344CB8AC3E}">
        <p14:creationId xmlns:p14="http://schemas.microsoft.com/office/powerpoint/2010/main" val="28340609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Evolutio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2" name="object 4">
            <a:extLst>
              <a:ext uri="{FF2B5EF4-FFF2-40B4-BE49-F238E27FC236}">
                <a16:creationId xmlns:a16="http://schemas.microsoft.com/office/drawing/2014/main" id="{F9E98954-DF21-02FA-B187-6E7747BD8C80}"/>
              </a:ext>
            </a:extLst>
          </p:cNvPr>
          <p:cNvPicPr/>
          <p:nvPr/>
        </p:nvPicPr>
        <p:blipFill>
          <a:blip r:embed="rId3" cstate="print"/>
          <a:stretch>
            <a:fillRect/>
          </a:stretch>
        </p:blipFill>
        <p:spPr>
          <a:xfrm>
            <a:off x="1228725" y="1371600"/>
            <a:ext cx="9734550" cy="4476750"/>
          </a:xfrm>
          <a:prstGeom prst="rect">
            <a:avLst/>
          </a:prstGeom>
        </p:spPr>
      </p:pic>
    </p:spTree>
    <p:extLst>
      <p:ext uri="{BB962C8B-B14F-4D97-AF65-F5344CB8AC3E}">
        <p14:creationId xmlns:p14="http://schemas.microsoft.com/office/powerpoint/2010/main" val="737989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CC3D6FD-0122-2E7B-B54E-037415B9DC19}"/>
              </a:ext>
            </a:extLst>
          </p:cNvPr>
          <p:cNvSpPr/>
          <p:nvPr/>
        </p:nvSpPr>
        <p:spPr>
          <a:xfrm>
            <a:off x="228600" y="965952"/>
            <a:ext cx="11582400" cy="5358648"/>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Key Characteristics of  AI 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grpSp>
        <p:nvGrpSpPr>
          <p:cNvPr id="3" name="Group 2">
            <a:extLst>
              <a:ext uri="{FF2B5EF4-FFF2-40B4-BE49-F238E27FC236}">
                <a16:creationId xmlns:a16="http://schemas.microsoft.com/office/drawing/2014/main" id="{07ECF675-3767-F278-7FE2-39839796AAD2}"/>
              </a:ext>
            </a:extLst>
          </p:cNvPr>
          <p:cNvGrpSpPr/>
          <p:nvPr/>
        </p:nvGrpSpPr>
        <p:grpSpPr>
          <a:xfrm>
            <a:off x="5181600" y="1701977"/>
            <a:ext cx="6315174" cy="3886598"/>
            <a:chOff x="5224463" y="2312888"/>
            <a:chExt cx="6315174" cy="3886598"/>
          </a:xfrm>
        </p:grpSpPr>
        <p:sp>
          <p:nvSpPr>
            <p:cNvPr id="5" name="Shape 1">
              <a:extLst>
                <a:ext uri="{FF2B5EF4-FFF2-40B4-BE49-F238E27FC236}">
                  <a16:creationId xmlns:a16="http://schemas.microsoft.com/office/drawing/2014/main" id="{30F1DC3A-C955-D4A1-68B7-B76039BBE1BA}"/>
                </a:ext>
              </a:extLst>
            </p:cNvPr>
            <p:cNvSpPr/>
            <p:nvPr/>
          </p:nvSpPr>
          <p:spPr>
            <a:xfrm>
              <a:off x="5224463" y="2312889"/>
              <a:ext cx="419398" cy="419398"/>
            </a:xfrm>
            <a:prstGeom prst="roundRect">
              <a:avLst>
                <a:gd name="adj" fmla="val 18670"/>
              </a:avLst>
            </a:prstGeom>
            <a:solidFill>
              <a:srgbClr val="E9E6FA"/>
            </a:solidFill>
            <a:ln w="7620">
              <a:solidFill>
                <a:srgbClr val="BDB8DF"/>
              </a:solidFill>
              <a:prstDash val="solid"/>
            </a:ln>
          </p:spPr>
          <p:txBody>
            <a:bodyPr/>
            <a:lstStyle/>
            <a:p>
              <a:endParaRPr lang="en-IN"/>
            </a:p>
          </p:txBody>
        </p:sp>
        <p:sp>
          <p:nvSpPr>
            <p:cNvPr id="6" name="Text 2">
              <a:extLst>
                <a:ext uri="{FF2B5EF4-FFF2-40B4-BE49-F238E27FC236}">
                  <a16:creationId xmlns:a16="http://schemas.microsoft.com/office/drawing/2014/main" id="{AB051B70-A1E5-A283-B6D2-9EEE2964EE72}"/>
                </a:ext>
              </a:extLst>
            </p:cNvPr>
            <p:cNvSpPr/>
            <p:nvPr/>
          </p:nvSpPr>
          <p:spPr>
            <a:xfrm>
              <a:off x="5379641" y="2382739"/>
              <a:ext cx="109042" cy="279698"/>
            </a:xfrm>
            <a:prstGeom prst="rect">
              <a:avLst/>
            </a:prstGeom>
            <a:noFill/>
            <a:ln/>
          </p:spPr>
          <p:txBody>
            <a:bodyPr wrap="none" lIns="0" tIns="0" rIns="0" bIns="0" rtlCol="0" anchor="t"/>
            <a:lstStyle/>
            <a:p>
              <a:pPr algn="ctr">
                <a:lnSpc>
                  <a:spcPts val="2167"/>
                </a:lnSpc>
              </a:pPr>
              <a:r>
                <a:rPr lang="en-US" sz="2200" b="1" dirty="0">
                  <a:solidFill>
                    <a:srgbClr val="2A2742"/>
                  </a:solidFill>
                  <a:latin typeface="Arial" panose="020B0604020202020204" pitchFamily="34" charset="0"/>
                  <a:ea typeface="Outfit Extra Bold" pitchFamily="34" charset="-122"/>
                  <a:cs typeface="Arial" panose="020B0604020202020204" pitchFamily="34" charset="0"/>
                </a:rPr>
                <a:t>1</a:t>
              </a:r>
              <a:endParaRPr lang="en-US" sz="2200" dirty="0">
                <a:latin typeface="Arial" panose="020B0604020202020204" pitchFamily="34" charset="0"/>
                <a:cs typeface="Arial" panose="020B0604020202020204" pitchFamily="34" charset="0"/>
              </a:endParaRPr>
            </a:p>
          </p:txBody>
        </p:sp>
        <p:sp>
          <p:nvSpPr>
            <p:cNvPr id="8" name="Text 3">
              <a:extLst>
                <a:ext uri="{FF2B5EF4-FFF2-40B4-BE49-F238E27FC236}">
                  <a16:creationId xmlns:a16="http://schemas.microsoft.com/office/drawing/2014/main" id="{23DDCC05-2D9E-BFCE-4D84-13BCFE9E3DE8}"/>
                </a:ext>
              </a:extLst>
            </p:cNvPr>
            <p:cNvSpPr/>
            <p:nvPr/>
          </p:nvSpPr>
          <p:spPr>
            <a:xfrm>
              <a:off x="5830293" y="2312888"/>
              <a:ext cx="2330351" cy="291307"/>
            </a:xfrm>
            <a:prstGeom prst="rect">
              <a:avLst/>
            </a:prstGeom>
            <a:noFill/>
            <a:ln/>
          </p:spPr>
          <p:txBody>
            <a:bodyPr wrap="none" lIns="0" tIns="0" rIns="0" bIns="0" rtlCol="0" anchor="t"/>
            <a:lstStyle/>
            <a:p>
              <a:pPr>
                <a:lnSpc>
                  <a:spcPts val="2292"/>
                </a:lnSpc>
              </a:pPr>
              <a:r>
                <a:rPr lang="en-US" b="1" dirty="0">
                  <a:solidFill>
                    <a:srgbClr val="2A2742"/>
                  </a:solidFill>
                  <a:latin typeface="Arial" panose="020B0604020202020204" pitchFamily="34" charset="0"/>
                  <a:ea typeface="Outfit Extra Bold" pitchFamily="34" charset="-122"/>
                  <a:cs typeface="Arial" panose="020B0604020202020204" pitchFamily="34" charset="0"/>
                </a:rPr>
                <a:t>Goal-Oriented</a:t>
              </a:r>
              <a:endParaRPr lang="en-US" dirty="0">
                <a:latin typeface="Arial" panose="020B0604020202020204" pitchFamily="34" charset="0"/>
                <a:cs typeface="Arial" panose="020B0604020202020204" pitchFamily="34" charset="0"/>
              </a:endParaRPr>
            </a:p>
          </p:txBody>
        </p:sp>
        <p:sp>
          <p:nvSpPr>
            <p:cNvPr id="9" name="Text 4">
              <a:extLst>
                <a:ext uri="{FF2B5EF4-FFF2-40B4-BE49-F238E27FC236}">
                  <a16:creationId xmlns:a16="http://schemas.microsoft.com/office/drawing/2014/main" id="{226F2980-EFD1-A43B-68BC-75BC322F6CE7}"/>
                </a:ext>
              </a:extLst>
            </p:cNvPr>
            <p:cNvSpPr/>
            <p:nvPr/>
          </p:nvSpPr>
          <p:spPr>
            <a:xfrm>
              <a:off x="5830292" y="2716014"/>
              <a:ext cx="2458542" cy="1193007"/>
            </a:xfrm>
            <a:prstGeom prst="rect">
              <a:avLst/>
            </a:prstGeom>
            <a:noFill/>
            <a:ln/>
          </p:spPr>
          <p:txBody>
            <a:bodyPr wrap="square" lIns="0" tIns="0" rIns="0" bIns="0" rtlCol="0" anchor="t"/>
            <a:lstStyle/>
            <a:p>
              <a:pPr>
                <a:lnSpc>
                  <a:spcPts val="2333"/>
                </a:lnSpc>
              </a:pPr>
              <a:r>
                <a:rPr lang="en-US" sz="1500" dirty="0">
                  <a:solidFill>
                    <a:srgbClr val="2A2742"/>
                  </a:solidFill>
                  <a:latin typeface="Arial" panose="020B0604020202020204" pitchFamily="34" charset="0"/>
                  <a:ea typeface="Arimo" pitchFamily="34" charset="-122"/>
                  <a:cs typeface="Arial" panose="020B0604020202020204" pitchFamily="34" charset="0"/>
                </a:rPr>
                <a:t> AI Agent systems are designed with specific goals in mind, driving their actions and decisions.</a:t>
              </a:r>
              <a:endParaRPr lang="en-US" sz="1500" dirty="0">
                <a:latin typeface="Arial" panose="020B0604020202020204" pitchFamily="34" charset="0"/>
                <a:cs typeface="Arial" panose="020B0604020202020204" pitchFamily="34" charset="0"/>
              </a:endParaRPr>
            </a:p>
          </p:txBody>
        </p:sp>
        <p:sp>
          <p:nvSpPr>
            <p:cNvPr id="10" name="Shape 5">
              <a:extLst>
                <a:ext uri="{FF2B5EF4-FFF2-40B4-BE49-F238E27FC236}">
                  <a16:creationId xmlns:a16="http://schemas.microsoft.com/office/drawing/2014/main" id="{2EAEF2F9-B401-668E-DAE9-0F6FB073AD1C}"/>
                </a:ext>
              </a:extLst>
            </p:cNvPr>
            <p:cNvSpPr/>
            <p:nvPr/>
          </p:nvSpPr>
          <p:spPr>
            <a:xfrm>
              <a:off x="8475266" y="2312889"/>
              <a:ext cx="419398" cy="419398"/>
            </a:xfrm>
            <a:prstGeom prst="roundRect">
              <a:avLst>
                <a:gd name="adj" fmla="val 18670"/>
              </a:avLst>
            </a:prstGeom>
            <a:solidFill>
              <a:srgbClr val="E9E6FA"/>
            </a:solidFill>
            <a:ln w="7620">
              <a:solidFill>
                <a:srgbClr val="BDB8DF"/>
              </a:solidFill>
              <a:prstDash val="solid"/>
            </a:ln>
          </p:spPr>
          <p:txBody>
            <a:bodyPr/>
            <a:lstStyle/>
            <a:p>
              <a:endParaRPr lang="en-IN"/>
            </a:p>
          </p:txBody>
        </p:sp>
        <p:sp>
          <p:nvSpPr>
            <p:cNvPr id="12" name="Text 6">
              <a:extLst>
                <a:ext uri="{FF2B5EF4-FFF2-40B4-BE49-F238E27FC236}">
                  <a16:creationId xmlns:a16="http://schemas.microsoft.com/office/drawing/2014/main" id="{1B7A5020-D1AB-D9B6-C023-5C30F970BA1F}"/>
                </a:ext>
              </a:extLst>
            </p:cNvPr>
            <p:cNvSpPr/>
            <p:nvPr/>
          </p:nvSpPr>
          <p:spPr>
            <a:xfrm>
              <a:off x="8604448" y="2382739"/>
              <a:ext cx="161032" cy="279698"/>
            </a:xfrm>
            <a:prstGeom prst="rect">
              <a:avLst/>
            </a:prstGeom>
            <a:noFill/>
            <a:ln/>
          </p:spPr>
          <p:txBody>
            <a:bodyPr wrap="none" lIns="0" tIns="0" rIns="0" bIns="0" rtlCol="0" anchor="t"/>
            <a:lstStyle/>
            <a:p>
              <a:pPr algn="ctr">
                <a:lnSpc>
                  <a:spcPts val="2167"/>
                </a:lnSpc>
              </a:pPr>
              <a:r>
                <a:rPr lang="en-US" sz="2200" b="1" dirty="0">
                  <a:solidFill>
                    <a:srgbClr val="2A2742"/>
                  </a:solidFill>
                  <a:latin typeface="Arial" panose="020B0604020202020204" pitchFamily="34" charset="0"/>
                  <a:ea typeface="Outfit Extra Bold" pitchFamily="34" charset="-122"/>
                  <a:cs typeface="Arial" panose="020B0604020202020204" pitchFamily="34" charset="0"/>
                </a:rPr>
                <a:t>2</a:t>
              </a:r>
              <a:endParaRPr lang="en-US" sz="2200" dirty="0">
                <a:latin typeface="Arial" panose="020B0604020202020204" pitchFamily="34" charset="0"/>
                <a:cs typeface="Arial" panose="020B0604020202020204" pitchFamily="34" charset="0"/>
              </a:endParaRPr>
            </a:p>
          </p:txBody>
        </p:sp>
        <p:sp>
          <p:nvSpPr>
            <p:cNvPr id="13" name="Text 7">
              <a:extLst>
                <a:ext uri="{FF2B5EF4-FFF2-40B4-BE49-F238E27FC236}">
                  <a16:creationId xmlns:a16="http://schemas.microsoft.com/office/drawing/2014/main" id="{FFCA6976-1069-D336-3032-AB3AF1CC8A3C}"/>
                </a:ext>
              </a:extLst>
            </p:cNvPr>
            <p:cNvSpPr/>
            <p:nvPr/>
          </p:nvSpPr>
          <p:spPr>
            <a:xfrm>
              <a:off x="9081095" y="2312888"/>
              <a:ext cx="2330351" cy="291307"/>
            </a:xfrm>
            <a:prstGeom prst="rect">
              <a:avLst/>
            </a:prstGeom>
            <a:noFill/>
            <a:ln/>
          </p:spPr>
          <p:txBody>
            <a:bodyPr wrap="none" lIns="0" tIns="0" rIns="0" bIns="0" rtlCol="0" anchor="t"/>
            <a:lstStyle/>
            <a:p>
              <a:pPr>
                <a:lnSpc>
                  <a:spcPts val="2292"/>
                </a:lnSpc>
              </a:pPr>
              <a:r>
                <a:rPr lang="en-US" b="1" dirty="0">
                  <a:solidFill>
                    <a:srgbClr val="2A2742"/>
                  </a:solidFill>
                  <a:latin typeface="Arial" panose="020B0604020202020204" pitchFamily="34" charset="0"/>
                  <a:ea typeface="Outfit Extra Bold" pitchFamily="34" charset="-122"/>
                  <a:cs typeface="Arial" panose="020B0604020202020204" pitchFamily="34" charset="0"/>
                </a:rPr>
                <a:t>Autonomous</a:t>
              </a:r>
              <a:endParaRPr lang="en-US" dirty="0">
                <a:latin typeface="Arial" panose="020B0604020202020204" pitchFamily="34" charset="0"/>
                <a:cs typeface="Arial" panose="020B0604020202020204" pitchFamily="34" charset="0"/>
              </a:endParaRPr>
            </a:p>
          </p:txBody>
        </p:sp>
        <p:sp>
          <p:nvSpPr>
            <p:cNvPr id="14" name="Text 8">
              <a:extLst>
                <a:ext uri="{FF2B5EF4-FFF2-40B4-BE49-F238E27FC236}">
                  <a16:creationId xmlns:a16="http://schemas.microsoft.com/office/drawing/2014/main" id="{BE6A049F-F3A2-85D8-3497-3A26BFE0EC9B}"/>
                </a:ext>
              </a:extLst>
            </p:cNvPr>
            <p:cNvSpPr/>
            <p:nvPr/>
          </p:nvSpPr>
          <p:spPr>
            <a:xfrm>
              <a:off x="9081095" y="2716014"/>
              <a:ext cx="2458542" cy="1491258"/>
            </a:xfrm>
            <a:prstGeom prst="rect">
              <a:avLst/>
            </a:prstGeom>
            <a:noFill/>
            <a:ln/>
          </p:spPr>
          <p:txBody>
            <a:bodyPr wrap="square" lIns="0" tIns="0" rIns="0" bIns="0" rtlCol="0" anchor="t"/>
            <a:lstStyle/>
            <a:p>
              <a:pPr>
                <a:lnSpc>
                  <a:spcPts val="2333"/>
                </a:lnSpc>
              </a:pPr>
              <a:r>
                <a:rPr lang="en-US" sz="1500" dirty="0">
                  <a:solidFill>
                    <a:srgbClr val="2A2742"/>
                  </a:solidFill>
                  <a:latin typeface="Arial" panose="020B0604020202020204" pitchFamily="34" charset="0"/>
                  <a:ea typeface="Arimo" pitchFamily="34" charset="-122"/>
                  <a:cs typeface="Arial" panose="020B0604020202020204" pitchFamily="34" charset="0"/>
                </a:rPr>
                <a:t>They can operate independently, making decisions and taking actions without constant human intervention.</a:t>
              </a:r>
              <a:endParaRPr lang="en-US" sz="1500" dirty="0">
                <a:latin typeface="Arial" panose="020B0604020202020204" pitchFamily="34" charset="0"/>
                <a:cs typeface="Arial" panose="020B0604020202020204" pitchFamily="34" charset="0"/>
              </a:endParaRPr>
            </a:p>
          </p:txBody>
        </p:sp>
        <p:sp>
          <p:nvSpPr>
            <p:cNvPr id="15" name="Shape 9">
              <a:extLst>
                <a:ext uri="{FF2B5EF4-FFF2-40B4-BE49-F238E27FC236}">
                  <a16:creationId xmlns:a16="http://schemas.microsoft.com/office/drawing/2014/main" id="{E6B99ED2-4E16-10AF-1520-F329424ACE2B}"/>
                </a:ext>
              </a:extLst>
            </p:cNvPr>
            <p:cNvSpPr/>
            <p:nvPr/>
          </p:nvSpPr>
          <p:spPr>
            <a:xfrm>
              <a:off x="5224463" y="4603354"/>
              <a:ext cx="419398" cy="419398"/>
            </a:xfrm>
            <a:prstGeom prst="roundRect">
              <a:avLst>
                <a:gd name="adj" fmla="val 18670"/>
              </a:avLst>
            </a:prstGeom>
            <a:solidFill>
              <a:srgbClr val="E9E6FA"/>
            </a:solidFill>
            <a:ln w="7620">
              <a:solidFill>
                <a:srgbClr val="BDB8DF"/>
              </a:solidFill>
              <a:prstDash val="solid"/>
            </a:ln>
          </p:spPr>
          <p:txBody>
            <a:bodyPr/>
            <a:lstStyle/>
            <a:p>
              <a:endParaRPr lang="en-IN"/>
            </a:p>
          </p:txBody>
        </p:sp>
        <p:sp>
          <p:nvSpPr>
            <p:cNvPr id="16" name="Text 10">
              <a:extLst>
                <a:ext uri="{FF2B5EF4-FFF2-40B4-BE49-F238E27FC236}">
                  <a16:creationId xmlns:a16="http://schemas.microsoft.com/office/drawing/2014/main" id="{A9A65BB8-0210-F8BA-F289-997458D37774}"/>
                </a:ext>
              </a:extLst>
            </p:cNvPr>
            <p:cNvSpPr/>
            <p:nvPr/>
          </p:nvSpPr>
          <p:spPr>
            <a:xfrm>
              <a:off x="5354638" y="4673204"/>
              <a:ext cx="159048" cy="279698"/>
            </a:xfrm>
            <a:prstGeom prst="rect">
              <a:avLst/>
            </a:prstGeom>
            <a:noFill/>
            <a:ln/>
          </p:spPr>
          <p:txBody>
            <a:bodyPr wrap="none" lIns="0" tIns="0" rIns="0" bIns="0" rtlCol="0" anchor="t"/>
            <a:lstStyle/>
            <a:p>
              <a:pPr algn="ctr">
                <a:lnSpc>
                  <a:spcPts val="2167"/>
                </a:lnSpc>
              </a:pPr>
              <a:r>
                <a:rPr lang="en-US" sz="2200" b="1" dirty="0">
                  <a:solidFill>
                    <a:srgbClr val="2A2742"/>
                  </a:solidFill>
                  <a:latin typeface="Arial" panose="020B0604020202020204" pitchFamily="34" charset="0"/>
                  <a:ea typeface="Outfit Extra Bold" pitchFamily="34" charset="-122"/>
                  <a:cs typeface="Arial" panose="020B0604020202020204" pitchFamily="34" charset="0"/>
                </a:rPr>
                <a:t>3</a:t>
              </a:r>
              <a:endParaRPr lang="en-US" sz="2200" dirty="0">
                <a:latin typeface="Arial" panose="020B0604020202020204" pitchFamily="34" charset="0"/>
                <a:cs typeface="Arial" panose="020B0604020202020204" pitchFamily="34" charset="0"/>
              </a:endParaRPr>
            </a:p>
          </p:txBody>
        </p:sp>
        <p:sp>
          <p:nvSpPr>
            <p:cNvPr id="17" name="Text 11">
              <a:extLst>
                <a:ext uri="{FF2B5EF4-FFF2-40B4-BE49-F238E27FC236}">
                  <a16:creationId xmlns:a16="http://schemas.microsoft.com/office/drawing/2014/main" id="{23AD16DF-0F75-0505-3F61-867D917235C9}"/>
                </a:ext>
              </a:extLst>
            </p:cNvPr>
            <p:cNvSpPr/>
            <p:nvPr/>
          </p:nvSpPr>
          <p:spPr>
            <a:xfrm>
              <a:off x="5830293" y="4603353"/>
              <a:ext cx="2330351" cy="291307"/>
            </a:xfrm>
            <a:prstGeom prst="rect">
              <a:avLst/>
            </a:prstGeom>
            <a:noFill/>
            <a:ln/>
          </p:spPr>
          <p:txBody>
            <a:bodyPr wrap="none" lIns="0" tIns="0" rIns="0" bIns="0" rtlCol="0" anchor="t"/>
            <a:lstStyle/>
            <a:p>
              <a:pPr>
                <a:lnSpc>
                  <a:spcPts val="2292"/>
                </a:lnSpc>
              </a:pPr>
              <a:r>
                <a:rPr lang="en-US" b="1" dirty="0">
                  <a:solidFill>
                    <a:srgbClr val="2A2742"/>
                  </a:solidFill>
                  <a:latin typeface="Arial" panose="020B0604020202020204" pitchFamily="34" charset="0"/>
                  <a:ea typeface="Outfit Extra Bold" pitchFamily="34" charset="-122"/>
                  <a:cs typeface="Arial" panose="020B0604020202020204" pitchFamily="34" charset="0"/>
                </a:rPr>
                <a:t>Self-Learning</a:t>
              </a:r>
              <a:endParaRPr lang="en-US" dirty="0">
                <a:latin typeface="Arial" panose="020B0604020202020204" pitchFamily="34" charset="0"/>
                <a:cs typeface="Arial" panose="020B0604020202020204" pitchFamily="34" charset="0"/>
              </a:endParaRPr>
            </a:p>
          </p:txBody>
        </p:sp>
        <p:sp>
          <p:nvSpPr>
            <p:cNvPr id="18" name="Text 12">
              <a:extLst>
                <a:ext uri="{FF2B5EF4-FFF2-40B4-BE49-F238E27FC236}">
                  <a16:creationId xmlns:a16="http://schemas.microsoft.com/office/drawing/2014/main" id="{D559D414-AF22-3664-BD73-1546EE0CAA9F}"/>
                </a:ext>
              </a:extLst>
            </p:cNvPr>
            <p:cNvSpPr/>
            <p:nvPr/>
          </p:nvSpPr>
          <p:spPr>
            <a:xfrm>
              <a:off x="5830292" y="5006479"/>
              <a:ext cx="2458542" cy="1193007"/>
            </a:xfrm>
            <a:prstGeom prst="rect">
              <a:avLst/>
            </a:prstGeom>
            <a:noFill/>
            <a:ln/>
          </p:spPr>
          <p:txBody>
            <a:bodyPr wrap="square" lIns="0" tIns="0" rIns="0" bIns="0" rtlCol="0" anchor="t"/>
            <a:lstStyle/>
            <a:p>
              <a:pPr>
                <a:lnSpc>
                  <a:spcPts val="2333"/>
                </a:lnSpc>
              </a:pPr>
              <a:r>
                <a:rPr lang="en-US" sz="1500" dirty="0">
                  <a:solidFill>
                    <a:srgbClr val="2A2742"/>
                  </a:solidFill>
                  <a:latin typeface="Arial" panose="020B0604020202020204" pitchFamily="34" charset="0"/>
                  <a:ea typeface="Arimo" pitchFamily="34" charset="-122"/>
                  <a:cs typeface="Arial" panose="020B0604020202020204" pitchFamily="34" charset="0"/>
                </a:rPr>
                <a:t>AI Agent  continuously learns and improves its performance based on data and feedback.</a:t>
              </a:r>
              <a:endParaRPr lang="en-US" sz="1500" dirty="0">
                <a:latin typeface="Arial" panose="020B0604020202020204" pitchFamily="34" charset="0"/>
                <a:cs typeface="Arial" panose="020B0604020202020204" pitchFamily="34" charset="0"/>
              </a:endParaRPr>
            </a:p>
          </p:txBody>
        </p:sp>
        <p:sp>
          <p:nvSpPr>
            <p:cNvPr id="19" name="Shape 13">
              <a:extLst>
                <a:ext uri="{FF2B5EF4-FFF2-40B4-BE49-F238E27FC236}">
                  <a16:creationId xmlns:a16="http://schemas.microsoft.com/office/drawing/2014/main" id="{D4AED223-22B2-C771-A2DA-F31BC3DF8A0F}"/>
                </a:ext>
              </a:extLst>
            </p:cNvPr>
            <p:cNvSpPr/>
            <p:nvPr/>
          </p:nvSpPr>
          <p:spPr>
            <a:xfrm>
              <a:off x="8475266" y="4603354"/>
              <a:ext cx="419398" cy="419398"/>
            </a:xfrm>
            <a:prstGeom prst="roundRect">
              <a:avLst>
                <a:gd name="adj" fmla="val 18670"/>
              </a:avLst>
            </a:prstGeom>
            <a:solidFill>
              <a:srgbClr val="E9E6FA"/>
            </a:solidFill>
            <a:ln w="7620">
              <a:solidFill>
                <a:srgbClr val="BDB8DF"/>
              </a:solidFill>
              <a:prstDash val="solid"/>
            </a:ln>
          </p:spPr>
          <p:txBody>
            <a:bodyPr/>
            <a:lstStyle/>
            <a:p>
              <a:endParaRPr lang="en-IN"/>
            </a:p>
          </p:txBody>
        </p:sp>
        <p:sp>
          <p:nvSpPr>
            <p:cNvPr id="20" name="Text 14">
              <a:extLst>
                <a:ext uri="{FF2B5EF4-FFF2-40B4-BE49-F238E27FC236}">
                  <a16:creationId xmlns:a16="http://schemas.microsoft.com/office/drawing/2014/main" id="{16ABBA5F-D2B6-EC63-2089-0230FB3A8FFC}"/>
                </a:ext>
              </a:extLst>
            </p:cNvPr>
            <p:cNvSpPr/>
            <p:nvPr/>
          </p:nvSpPr>
          <p:spPr>
            <a:xfrm>
              <a:off x="8599290" y="4673204"/>
              <a:ext cx="171351" cy="279698"/>
            </a:xfrm>
            <a:prstGeom prst="rect">
              <a:avLst/>
            </a:prstGeom>
            <a:noFill/>
            <a:ln/>
          </p:spPr>
          <p:txBody>
            <a:bodyPr wrap="none" lIns="0" tIns="0" rIns="0" bIns="0" rtlCol="0" anchor="t"/>
            <a:lstStyle/>
            <a:p>
              <a:pPr algn="ctr">
                <a:lnSpc>
                  <a:spcPts val="2167"/>
                </a:lnSpc>
              </a:pPr>
              <a:r>
                <a:rPr lang="en-US" sz="2200" b="1" dirty="0">
                  <a:solidFill>
                    <a:srgbClr val="2A2742"/>
                  </a:solidFill>
                  <a:latin typeface="Arial" panose="020B0604020202020204" pitchFamily="34" charset="0"/>
                  <a:ea typeface="Outfit Extra Bold" pitchFamily="34" charset="-122"/>
                  <a:cs typeface="Arial" panose="020B0604020202020204" pitchFamily="34" charset="0"/>
                </a:rPr>
                <a:t>4</a:t>
              </a:r>
              <a:endParaRPr lang="en-US" sz="2200" dirty="0">
                <a:latin typeface="Arial" panose="020B0604020202020204" pitchFamily="34" charset="0"/>
                <a:cs typeface="Arial" panose="020B0604020202020204" pitchFamily="34" charset="0"/>
              </a:endParaRPr>
            </a:p>
          </p:txBody>
        </p:sp>
        <p:sp>
          <p:nvSpPr>
            <p:cNvPr id="21" name="Text 15">
              <a:extLst>
                <a:ext uri="{FF2B5EF4-FFF2-40B4-BE49-F238E27FC236}">
                  <a16:creationId xmlns:a16="http://schemas.microsoft.com/office/drawing/2014/main" id="{817C96FC-A072-8311-399B-4D810189CDCB}"/>
                </a:ext>
              </a:extLst>
            </p:cNvPr>
            <p:cNvSpPr/>
            <p:nvPr/>
          </p:nvSpPr>
          <p:spPr>
            <a:xfrm>
              <a:off x="9081095" y="4603353"/>
              <a:ext cx="2437110" cy="291307"/>
            </a:xfrm>
            <a:prstGeom prst="rect">
              <a:avLst/>
            </a:prstGeom>
            <a:noFill/>
            <a:ln/>
          </p:spPr>
          <p:txBody>
            <a:bodyPr wrap="none" lIns="0" tIns="0" rIns="0" bIns="0" rtlCol="0" anchor="t"/>
            <a:lstStyle/>
            <a:p>
              <a:pPr>
                <a:lnSpc>
                  <a:spcPts val="2292"/>
                </a:lnSpc>
              </a:pPr>
              <a:r>
                <a:rPr lang="en-US" b="1" dirty="0">
                  <a:solidFill>
                    <a:srgbClr val="2A2742"/>
                  </a:solidFill>
                  <a:latin typeface="Arial" panose="020B0604020202020204" pitchFamily="34" charset="0"/>
                  <a:ea typeface="Outfit Extra Bold" pitchFamily="34" charset="-122"/>
                  <a:cs typeface="Arial" panose="020B0604020202020204" pitchFamily="34" charset="0"/>
                </a:rPr>
                <a:t>Contextual Awareness</a:t>
              </a:r>
              <a:endParaRPr lang="en-US" dirty="0">
                <a:latin typeface="Arial" panose="020B0604020202020204" pitchFamily="34" charset="0"/>
                <a:cs typeface="Arial" panose="020B0604020202020204" pitchFamily="34" charset="0"/>
              </a:endParaRPr>
            </a:p>
          </p:txBody>
        </p:sp>
        <p:sp>
          <p:nvSpPr>
            <p:cNvPr id="22" name="Text 16">
              <a:extLst>
                <a:ext uri="{FF2B5EF4-FFF2-40B4-BE49-F238E27FC236}">
                  <a16:creationId xmlns:a16="http://schemas.microsoft.com/office/drawing/2014/main" id="{D6990273-59AC-D596-09A5-AA5C37D42A99}"/>
                </a:ext>
              </a:extLst>
            </p:cNvPr>
            <p:cNvSpPr/>
            <p:nvPr/>
          </p:nvSpPr>
          <p:spPr>
            <a:xfrm>
              <a:off x="9081095" y="5006479"/>
              <a:ext cx="2458542" cy="1193007"/>
            </a:xfrm>
            <a:prstGeom prst="rect">
              <a:avLst/>
            </a:prstGeom>
            <a:noFill/>
            <a:ln/>
          </p:spPr>
          <p:txBody>
            <a:bodyPr wrap="square" lIns="0" tIns="0" rIns="0" bIns="0" rtlCol="0" anchor="t"/>
            <a:lstStyle/>
            <a:p>
              <a:pPr>
                <a:lnSpc>
                  <a:spcPts val="2333"/>
                </a:lnSpc>
              </a:pPr>
              <a:r>
                <a:rPr lang="en-US" sz="1500" dirty="0">
                  <a:solidFill>
                    <a:srgbClr val="2A2742"/>
                  </a:solidFill>
                  <a:latin typeface="Arial" panose="020B0604020202020204" pitchFamily="34" charset="0"/>
                  <a:ea typeface="Arimo" pitchFamily="34" charset="-122"/>
                  <a:cs typeface="Arial" panose="020B0604020202020204" pitchFamily="34" charset="0"/>
                </a:rPr>
                <a:t>They can understand and adapt to changing contexts, making decisions based on real-time information.</a:t>
              </a:r>
              <a:endParaRPr lang="en-US" sz="1500" dirty="0">
                <a:latin typeface="Arial" panose="020B0604020202020204" pitchFamily="34" charset="0"/>
                <a:cs typeface="Arial" panose="020B0604020202020204" pitchFamily="34" charset="0"/>
              </a:endParaRPr>
            </a:p>
          </p:txBody>
        </p:sp>
      </p:grpSp>
      <p:pic>
        <p:nvPicPr>
          <p:cNvPr id="23" name="Image 0" descr="preencoded.png">
            <a:extLst>
              <a:ext uri="{FF2B5EF4-FFF2-40B4-BE49-F238E27FC236}">
                <a16:creationId xmlns:a16="http://schemas.microsoft.com/office/drawing/2014/main" id="{8769A489-62DA-A237-CBAC-893B165E32D4}"/>
              </a:ext>
            </a:extLst>
          </p:cNvPr>
          <p:cNvPicPr>
            <a:picLocks noChangeAspect="1"/>
          </p:cNvPicPr>
          <p:nvPr/>
        </p:nvPicPr>
        <p:blipFill>
          <a:blip r:embed="rId3" cstate="print"/>
          <a:srcRect t="12194" b="25883"/>
          <a:stretch/>
        </p:blipFill>
        <p:spPr>
          <a:xfrm>
            <a:off x="720627" y="1701977"/>
            <a:ext cx="3695700" cy="3529386"/>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extLst>
      <p:ext uri="{BB962C8B-B14F-4D97-AF65-F5344CB8AC3E}">
        <p14:creationId xmlns:p14="http://schemas.microsoft.com/office/powerpoint/2010/main" val="3390529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5072514"/>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2" descr="2+ Thousand Chatbot Funny Royalty-Free Images, Stock Photos &amp; Pictures |  Shutterstock">
            <a:extLst>
              <a:ext uri="{FF2B5EF4-FFF2-40B4-BE49-F238E27FC236}">
                <a16:creationId xmlns:a16="http://schemas.microsoft.com/office/drawing/2014/main" id="{92E5DDBE-0A55-32FC-D2C0-8A45B9BC694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81800" y="2819400"/>
            <a:ext cx="4724400" cy="1574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0DD4C-D477-8F23-A797-4323EAFCAC75}"/>
              </a:ext>
            </a:extLst>
          </p:cNvPr>
          <p:cNvSpPr txBox="1"/>
          <p:nvPr/>
        </p:nvSpPr>
        <p:spPr>
          <a:xfrm>
            <a:off x="838200" y="1295400"/>
            <a:ext cx="6858000" cy="4770537"/>
          </a:xfrm>
          <a:prstGeom prst="rect">
            <a:avLst/>
          </a:prstGeom>
          <a:noFill/>
        </p:spPr>
        <p:txBody>
          <a:bodyPr wrap="square">
            <a:spAutoFit/>
          </a:bodyPr>
          <a:lstStyle/>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Customer Service</a:t>
            </a:r>
            <a:r>
              <a:rPr lang="en-US" sz="16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utomated chatbots handling initial customer inquiri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Virtual assistants providing 24/7 support</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I agents resolving common issues without human intervention</a:t>
            </a:r>
          </a:p>
          <a:p>
            <a:pPr marL="285750" indent="-285750">
              <a:buFont typeface="Wingdings" panose="05000000000000000000" pitchFamily="2" charset="2"/>
              <a:buChar char="Ø"/>
            </a:pPr>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Personal Productivity</a:t>
            </a:r>
            <a:r>
              <a:rPr lang="en-US" sz="16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igital assistants managing calendars and scheduling</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mail sorting and prioritization agen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Task management systems with intelligent recommendations</a:t>
            </a:r>
          </a:p>
          <a:p>
            <a:pPr marL="285750" indent="-285750">
              <a:buFont typeface="Arial" panose="020B0604020202020204" pitchFamily="34" charset="0"/>
              <a:buChar char="•"/>
            </a:pPr>
            <a:endParaRPr lang="en-US" sz="16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Healthcare</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iagnostic support agents analyzing patient symptom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Medication management assistants for patien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dministrative agents handling appointment scheduling and records</a:t>
            </a:r>
          </a:p>
          <a:p>
            <a:pPr marL="285750" indent="-285750">
              <a:buFont typeface="Wingdings" panose="05000000000000000000" pitchFamily="2" charset="2"/>
              <a:buChar char="Ø"/>
            </a:pPr>
            <a:endParaRPr lang="en-US" sz="16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Financial Servic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Robo-advisors managing investment portfolio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Fraud detection agents monitoring transaction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surance claim processing automation</a:t>
            </a:r>
          </a:p>
        </p:txBody>
      </p:sp>
    </p:spTree>
    <p:extLst>
      <p:ext uri="{BB962C8B-B14F-4D97-AF65-F5344CB8AC3E}">
        <p14:creationId xmlns:p14="http://schemas.microsoft.com/office/powerpoint/2010/main" val="3793861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5072514"/>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2" descr="2+ Thousand Chatbot Funny Royalty-Free Images, Stock Photos &amp; Pictures |  Shutterstock">
            <a:extLst>
              <a:ext uri="{FF2B5EF4-FFF2-40B4-BE49-F238E27FC236}">
                <a16:creationId xmlns:a16="http://schemas.microsoft.com/office/drawing/2014/main" id="{92E5DDBE-0A55-32FC-D2C0-8A45B9BC694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81800" y="2819400"/>
            <a:ext cx="4724400" cy="1574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DFB795D-F1E1-1050-9B6C-6F105E011B49}"/>
              </a:ext>
            </a:extLst>
          </p:cNvPr>
          <p:cNvSpPr txBox="1"/>
          <p:nvPr/>
        </p:nvSpPr>
        <p:spPr>
          <a:xfrm>
            <a:off x="990600" y="1247672"/>
            <a:ext cx="10972800" cy="4924425"/>
          </a:xfrm>
          <a:prstGeom prst="rect">
            <a:avLst/>
          </a:prstGeom>
          <a:noFill/>
        </p:spPr>
        <p:txBody>
          <a:bodyPr wrap="square">
            <a:spAutoFit/>
          </a:bodyPr>
          <a:lstStyle/>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Sales and Marketing</a:t>
            </a:r>
            <a:r>
              <a:rPr lang="en-US" sz="16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Lead qualification and scoring agen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Personalized product recommendation engin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Marketing automation tools optimizing campaigns</a:t>
            </a:r>
          </a:p>
          <a:p>
            <a:pPr marL="285750" indent="-285750">
              <a:buFont typeface="Wingdings" panose="05000000000000000000" pitchFamily="2" charset="2"/>
              <a:buChar char="Ø"/>
            </a:pPr>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Manufacturing and Supply Chain</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Predictive maintenance agents monitoring equipment</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ventory optimization system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Quality control agents detecting defects</a:t>
            </a:r>
          </a:p>
          <a:p>
            <a:pPr marL="285750" indent="-285750">
              <a:buFont typeface="Wingdings" panose="05000000000000000000" pitchFamily="2" charset="2"/>
              <a:buChar char="Ø"/>
            </a:pPr>
            <a:endParaRPr lang="en-US" sz="16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Education</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Tutoring agents providing personalized learning</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Grading assistants evaluating assignmen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ourse recommendation agents suggesting appropriate classes</a:t>
            </a:r>
          </a:p>
          <a:p>
            <a:pPr marL="285750" indent="-285750">
              <a:buFont typeface="Arial" panose="020B0604020202020204" pitchFamily="34" charset="0"/>
              <a:buChar char="•"/>
            </a:pPr>
            <a:endParaRPr lang="en-US" sz="16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600" b="1" dirty="0">
                <a:latin typeface="Arial" panose="020B0604020202020204" pitchFamily="34" charset="0"/>
                <a:cs typeface="Arial" panose="020B0604020202020204" pitchFamily="34" charset="0"/>
              </a:rPr>
              <a:t>Home Automation</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Smart home assistants controlling devices and system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Security monitoring agents detecting unusual activity</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nergy optimization agents managing consumption</a:t>
            </a:r>
          </a:p>
        </p:txBody>
      </p:sp>
    </p:spTree>
    <p:extLst>
      <p:ext uri="{BB962C8B-B14F-4D97-AF65-F5344CB8AC3E}">
        <p14:creationId xmlns:p14="http://schemas.microsoft.com/office/powerpoint/2010/main" val="2732932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1732280" y="2679596"/>
            <a:ext cx="8727440" cy="900184"/>
            <a:chOff x="1732280" y="1453910"/>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3910"/>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3026924" y="1580836"/>
              <a:ext cx="613815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a:ea typeface="+mn-ea"/>
                  <a:cs typeface="Arial"/>
                </a:rPr>
                <a:t>Introduction</a:t>
              </a:r>
              <a:r>
                <a:rPr kumimoji="0" lang="en-US" sz="3600" b="1" i="0" u="none" strike="noStrike" kern="1200" cap="none" spc="-130" normalizeH="0" baseline="0" noProof="0" dirty="0">
                  <a:ln>
                    <a:noFill/>
                  </a:ln>
                  <a:solidFill>
                    <a:prstClr val="black"/>
                  </a:solidFill>
                  <a:effectLst/>
                  <a:uLnTx/>
                  <a:uFillTx/>
                  <a:latin typeface="Arial"/>
                  <a:ea typeface="+mn-ea"/>
                  <a:cs typeface="Arial"/>
                </a:rPr>
                <a:t> </a:t>
              </a:r>
              <a:r>
                <a:rPr kumimoji="0" lang="en-US" sz="3600" b="1" i="0" u="none" strike="noStrike" kern="1200" cap="none" spc="-25" normalizeH="0" baseline="0" noProof="0" dirty="0">
                  <a:ln>
                    <a:noFill/>
                  </a:ln>
                  <a:solidFill>
                    <a:prstClr val="black"/>
                  </a:solidFill>
                  <a:effectLst/>
                  <a:uLnTx/>
                  <a:uFillTx/>
                  <a:latin typeface="Arial"/>
                  <a:ea typeface="+mn-ea"/>
                  <a:cs typeface="Arial"/>
                </a:rPr>
                <a:t>to </a:t>
              </a:r>
              <a:r>
                <a:rPr kumimoji="0" lang="en-US" sz="3600" b="1" i="0" u="none" strike="noStrike" kern="1200" cap="none" spc="0" normalizeH="0" baseline="0" noProof="0" dirty="0">
                  <a:ln>
                    <a:noFill/>
                  </a:ln>
                  <a:solidFill>
                    <a:prstClr val="black"/>
                  </a:solidFill>
                  <a:effectLst/>
                  <a:uLnTx/>
                  <a:uFillTx/>
                  <a:latin typeface="Arial"/>
                  <a:ea typeface="+mn-ea"/>
                  <a:cs typeface="Arial"/>
                </a:rPr>
                <a:t>Agentic</a:t>
              </a:r>
              <a:r>
                <a:rPr kumimoji="0" lang="en-US" sz="3600" b="1" i="0" u="none" strike="noStrike" kern="1200" cap="none" spc="-70" normalizeH="0" baseline="0" noProof="0" dirty="0">
                  <a:ln>
                    <a:noFill/>
                  </a:ln>
                  <a:solidFill>
                    <a:prstClr val="black"/>
                  </a:solidFill>
                  <a:effectLst/>
                  <a:uLnTx/>
                  <a:uFillTx/>
                  <a:latin typeface="Arial"/>
                  <a:ea typeface="+mn-ea"/>
                  <a:cs typeface="Arial"/>
                </a:rPr>
                <a:t> </a:t>
              </a:r>
              <a:r>
                <a:rPr kumimoji="0" lang="en-US" sz="3600" b="1" i="0" u="none" strike="noStrike" kern="1200" cap="none" spc="-25" normalizeH="0" baseline="0" noProof="0" dirty="0">
                  <a:ln>
                    <a:noFill/>
                  </a:ln>
                  <a:solidFill>
                    <a:prstClr val="black"/>
                  </a:solidFill>
                  <a:effectLst/>
                  <a:uLnTx/>
                  <a:uFillTx/>
                  <a:latin typeface="Arial"/>
                  <a:ea typeface="+mn-ea"/>
                  <a:cs typeface="Arial"/>
                </a:rPr>
                <a:t>AI</a:t>
              </a:r>
              <a:endParaRPr kumimoji="0" lang="en-US" sz="36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8930798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776EFA06-2A52-0114-A10B-99A72E5A6D76}"/>
              </a:ext>
            </a:extLst>
          </p:cNvPr>
          <p:cNvSpPr/>
          <p:nvPr/>
        </p:nvSpPr>
        <p:spPr>
          <a:xfrm>
            <a:off x="7391399" y="3268782"/>
            <a:ext cx="4489807" cy="1600643"/>
          </a:xfrm>
          <a:prstGeom prst="roundRect">
            <a:avLst/>
          </a:prstGeom>
          <a:solidFill>
            <a:schemeClr val="bg1"/>
          </a:solidFill>
          <a:ln w="12700">
            <a:solidFill>
              <a:schemeClr val="accent2"/>
            </a:solidFill>
          </a:ln>
          <a:effectLst>
            <a:outerShdw blurRad="107950" dist="12700" dir="5400000" algn="ctr">
              <a:srgbClr val="000000"/>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3CAA325F-599B-9141-DF5A-2D97760444D0}"/>
              </a:ext>
            </a:extLst>
          </p:cNvPr>
          <p:cNvSpPr/>
          <p:nvPr/>
        </p:nvSpPr>
        <p:spPr>
          <a:xfrm>
            <a:off x="435242" y="4464308"/>
            <a:ext cx="6651358" cy="1600643"/>
          </a:xfrm>
          <a:prstGeom prst="roundRect">
            <a:avLst/>
          </a:prstGeom>
          <a:solidFill>
            <a:schemeClr val="bg1"/>
          </a:solidFill>
          <a:ln w="12700">
            <a:solidFill>
              <a:schemeClr val="accent2"/>
            </a:solidFill>
          </a:ln>
          <a:effectLst>
            <a:outerShdw blurRad="107950" dist="12700" dir="5400000" algn="ctr">
              <a:srgbClr val="000000"/>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EE66D798-EF96-07DF-D5FC-1AEF83B4C32E}"/>
              </a:ext>
            </a:extLst>
          </p:cNvPr>
          <p:cNvSpPr/>
          <p:nvPr/>
        </p:nvSpPr>
        <p:spPr>
          <a:xfrm>
            <a:off x="435242" y="2666557"/>
            <a:ext cx="6651358" cy="1600643"/>
          </a:xfrm>
          <a:prstGeom prst="roundRect">
            <a:avLst/>
          </a:prstGeom>
          <a:solidFill>
            <a:schemeClr val="bg1"/>
          </a:solidFill>
          <a:ln w="12700">
            <a:solidFill>
              <a:schemeClr val="accent2"/>
            </a:solidFill>
          </a:ln>
          <a:effectLst>
            <a:outerShdw blurRad="107950" dist="12700" dir="5400000" algn="ctr">
              <a:srgbClr val="000000"/>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en to use agents / When to avoid th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11317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5657CD85-801F-FB93-5B2C-DA62953FE311}"/>
              </a:ext>
            </a:extLst>
          </p:cNvPr>
          <p:cNvSpPr txBox="1"/>
          <p:nvPr/>
        </p:nvSpPr>
        <p:spPr>
          <a:xfrm>
            <a:off x="739942" y="1295400"/>
            <a:ext cx="10744200" cy="738664"/>
          </a:xfrm>
          <a:prstGeom prst="rect">
            <a:avLst/>
          </a:prstGeom>
          <a:noFill/>
        </p:spPr>
        <p:txBody>
          <a:bodyPr wrap="square">
            <a:spAutoFit/>
          </a:bodyPr>
          <a:lstStyle/>
          <a:p>
            <a:pPr algn="ctr"/>
            <a:r>
              <a:rPr lang="en-US" sz="1400" b="1" dirty="0">
                <a:latin typeface="Arial" panose="020B0604020202020204" pitchFamily="34" charset="0"/>
                <a:cs typeface="Arial" panose="020B0604020202020204" pitchFamily="34" charset="0"/>
              </a:rPr>
              <a:t>Task</a:t>
            </a:r>
          </a:p>
          <a:p>
            <a:pPr algn="ctr"/>
            <a:r>
              <a:rPr lang="en-US" sz="1400" dirty="0">
                <a:latin typeface="Arial" panose="020B0604020202020204" pitchFamily="34" charset="0"/>
                <a:cs typeface="Arial" panose="020B0604020202020204" pitchFamily="34" charset="0"/>
              </a:rPr>
              <a:t>You want to build a system that automatically collects product reviews from competitor websites, analyzes sentiment, extracts feature requests, and emails a summary to the product team every Monday.</a:t>
            </a:r>
          </a:p>
        </p:txBody>
      </p:sp>
      <p:sp>
        <p:nvSpPr>
          <p:cNvPr id="9" name="TextBox 8">
            <a:extLst>
              <a:ext uri="{FF2B5EF4-FFF2-40B4-BE49-F238E27FC236}">
                <a16:creationId xmlns:a16="http://schemas.microsoft.com/office/drawing/2014/main" id="{59F0A40F-326D-13E0-A576-F2B5AEDF77C3}"/>
              </a:ext>
            </a:extLst>
          </p:cNvPr>
          <p:cNvSpPr txBox="1"/>
          <p:nvPr/>
        </p:nvSpPr>
        <p:spPr>
          <a:xfrm>
            <a:off x="533400" y="2671428"/>
            <a:ext cx="6308558" cy="3323987"/>
          </a:xfrm>
          <a:prstGeom prst="rect">
            <a:avLst/>
          </a:prstGeom>
          <a:noFill/>
        </p:spPr>
        <p:txBody>
          <a:bodyPr wrap="square">
            <a:spAutoFit/>
          </a:bodyPr>
          <a:lstStyle/>
          <a:p>
            <a:pPr>
              <a:buNone/>
            </a:pPr>
            <a:r>
              <a:rPr lang="en-US" sz="1400" b="1" dirty="0">
                <a:latin typeface="Arial" panose="020B0604020202020204" pitchFamily="34" charset="0"/>
                <a:cs typeface="Arial" panose="020B0604020202020204" pitchFamily="34" charset="0"/>
              </a:rPr>
              <a:t>Solution Using an AI Agent</a:t>
            </a:r>
          </a:p>
          <a:p>
            <a:pPr>
              <a:buNone/>
            </a:pPr>
            <a:endParaRPr lang="en-US" sz="1400" b="1" dirty="0">
              <a:latin typeface="Arial" panose="020B0604020202020204" pitchFamily="34" charset="0"/>
              <a:cs typeface="Arial" panose="020B0604020202020204" pitchFamily="34" charset="0"/>
            </a:endParaRPr>
          </a:p>
          <a:p>
            <a:pPr>
              <a:buNone/>
            </a:pPr>
            <a:r>
              <a:rPr lang="en-US" sz="1400" dirty="0">
                <a:latin typeface="Arial" panose="020B0604020202020204" pitchFamily="34" charset="0"/>
                <a:cs typeface="Arial" panose="020B0604020202020204" pitchFamily="34" charset="0"/>
              </a:rPr>
              <a:t>An AI Agent is a good fit because the task is:</a:t>
            </a:r>
          </a:p>
          <a:p>
            <a:pPr marL="285750" lvl="2"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Goal-driven</a:t>
            </a:r>
            <a:r>
              <a:rPr lang="en-US" sz="1400" dirty="0">
                <a:latin typeface="Arial" panose="020B0604020202020204" pitchFamily="34" charset="0"/>
                <a:cs typeface="Arial" panose="020B0604020202020204" pitchFamily="34" charset="0"/>
              </a:rPr>
              <a:t>: "Get weekly insights from competitor reviews"</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Multi-step</a:t>
            </a:r>
            <a:r>
              <a:rPr lang="en-US" sz="1400" dirty="0">
                <a:latin typeface="Arial" panose="020B0604020202020204" pitchFamily="34" charset="0"/>
                <a:cs typeface="Arial" panose="020B0604020202020204" pitchFamily="34" charset="0"/>
              </a:rPr>
              <a:t>: Browse → Scrape → Analyze → Summarize → Email</a:t>
            </a:r>
          </a:p>
          <a:p>
            <a:pPr marL="285750" lvl="2"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Tool-based</a:t>
            </a:r>
            <a:r>
              <a:rPr lang="en-US" sz="1400" dirty="0">
                <a:latin typeface="Arial" panose="020B0604020202020204" pitchFamily="34" charset="0"/>
                <a:cs typeface="Arial" panose="020B0604020202020204" pitchFamily="34" charset="0"/>
              </a:rPr>
              <a:t>: Needs access to browser tools, NLP libraries, and email API</a:t>
            </a:r>
          </a:p>
          <a:p>
            <a:pPr marL="285750" lvl="1"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Autonomous</a:t>
            </a:r>
            <a:r>
              <a:rPr lang="en-US" sz="1400" dirty="0">
                <a:latin typeface="Arial" panose="020B0604020202020204" pitchFamily="34" charset="0"/>
                <a:cs typeface="Arial" panose="020B0604020202020204" pitchFamily="34" charset="0"/>
              </a:rPr>
              <a:t>: Should run weekly without manual intervention</a:t>
            </a:r>
          </a:p>
          <a:p>
            <a:pPr marL="285750" lvl="1" indent="-285750">
              <a:buFont typeface="Wingdings" panose="05000000000000000000" pitchFamily="2" charset="2"/>
              <a:buChar char="Ø"/>
            </a:pPr>
            <a:endParaRPr lang="en-US" sz="1400" dirty="0">
              <a:latin typeface="Arial" panose="020B0604020202020204" pitchFamily="34" charset="0"/>
              <a:cs typeface="Arial" panose="020B0604020202020204" pitchFamily="34" charset="0"/>
            </a:endParaRPr>
          </a:p>
          <a:p>
            <a:pPr lvl="1">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a:buNone/>
            </a:pPr>
            <a:r>
              <a:rPr lang="en-US" sz="1400" b="1" dirty="0">
                <a:latin typeface="Arial" panose="020B0604020202020204" pitchFamily="34" charset="0"/>
                <a:cs typeface="Arial" panose="020B0604020202020204" pitchFamily="34" charset="0"/>
              </a:rPr>
              <a:t>Example Workflow for the Agent:</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Web Scraper Tool</a:t>
            </a:r>
            <a:r>
              <a:rPr lang="en-US" sz="1400" dirty="0">
                <a:latin typeface="Arial" panose="020B0604020202020204" pitchFamily="34" charset="0"/>
                <a:cs typeface="Arial" panose="020B0604020202020204" pitchFamily="34" charset="0"/>
              </a:rPr>
              <a:t>: Extracts latest reviews from competitor websites.</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Sentiment Analyzer</a:t>
            </a:r>
            <a:r>
              <a:rPr lang="en-US" sz="1400" dirty="0">
                <a:latin typeface="Arial" panose="020B0604020202020204" pitchFamily="34" charset="0"/>
                <a:cs typeface="Arial" panose="020B0604020202020204" pitchFamily="34" charset="0"/>
              </a:rPr>
              <a:t> (NLP pipeline): Analyzes each review.</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LLM Tool</a:t>
            </a:r>
            <a:r>
              <a:rPr lang="en-US" sz="1400" dirty="0">
                <a:latin typeface="Arial" panose="020B0604020202020204" pitchFamily="34" charset="0"/>
                <a:cs typeface="Arial" panose="020B0604020202020204" pitchFamily="34" charset="0"/>
              </a:rPr>
              <a:t>: Extracts key themes, complaints, and feature requests.</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Summarizer</a:t>
            </a:r>
            <a:r>
              <a:rPr lang="en-US" sz="1400" dirty="0">
                <a:latin typeface="Arial" panose="020B0604020202020204" pitchFamily="34" charset="0"/>
                <a:cs typeface="Arial" panose="020B0604020202020204" pitchFamily="34" charset="0"/>
              </a:rPr>
              <a:t>: Generates a weekly insights report.</a:t>
            </a:r>
          </a:p>
          <a:p>
            <a:pPr marL="285750" indent="-285750">
              <a:buFont typeface="Wingdings" panose="05000000000000000000" pitchFamily="2" charset="2"/>
              <a:buChar char="Ø"/>
            </a:pPr>
            <a:r>
              <a:rPr lang="en-US" sz="1400" b="1" dirty="0">
                <a:latin typeface="Arial" panose="020B0604020202020204" pitchFamily="34" charset="0"/>
                <a:cs typeface="Arial" panose="020B0604020202020204" pitchFamily="34" charset="0"/>
              </a:rPr>
              <a:t>Email Tool</a:t>
            </a:r>
            <a:r>
              <a:rPr lang="en-US" sz="1400" dirty="0">
                <a:latin typeface="Arial" panose="020B0604020202020204" pitchFamily="34" charset="0"/>
                <a:cs typeface="Arial" panose="020B0604020202020204" pitchFamily="34" charset="0"/>
              </a:rPr>
              <a:t>: Sends the report to a Slack channel or email inbox.</a:t>
            </a:r>
          </a:p>
        </p:txBody>
      </p:sp>
      <p:sp>
        <p:nvSpPr>
          <p:cNvPr id="12" name="TextBox 11">
            <a:extLst>
              <a:ext uri="{FF2B5EF4-FFF2-40B4-BE49-F238E27FC236}">
                <a16:creationId xmlns:a16="http://schemas.microsoft.com/office/drawing/2014/main" id="{2D0B9CD8-20F3-D02C-2110-3DEA12F4E946}"/>
              </a:ext>
            </a:extLst>
          </p:cNvPr>
          <p:cNvSpPr txBox="1"/>
          <p:nvPr/>
        </p:nvSpPr>
        <p:spPr>
          <a:xfrm>
            <a:off x="7391400" y="3592051"/>
            <a:ext cx="4489807" cy="954107"/>
          </a:xfrm>
          <a:prstGeom prst="rect">
            <a:avLst/>
          </a:prstGeom>
          <a:noFill/>
        </p:spPr>
        <p:txBody>
          <a:bodyPr wrap="square">
            <a:spAutoFit/>
          </a:bodyPr>
          <a:lstStyle/>
          <a:p>
            <a:pPr>
              <a:buNone/>
            </a:pPr>
            <a:r>
              <a:rPr lang="en-US" sz="1400" b="1" dirty="0">
                <a:latin typeface="Arial" panose="020B0604020202020204" pitchFamily="34" charset="0"/>
                <a:cs typeface="Arial" panose="020B0604020202020204" pitchFamily="34" charset="0"/>
              </a:rPr>
              <a:t>Agent Advantages</a:t>
            </a:r>
            <a:r>
              <a:rPr lang="en-US" sz="1400" dirty="0">
                <a:latin typeface="Arial" panose="020B0604020202020204" pitchFamily="34" charset="0"/>
                <a:cs typeface="Arial" panose="020B0604020202020204" pitchFamily="34" charset="0"/>
              </a:rPr>
              <a:t>:</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Can adapt if some pages fail or URLs change.</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Can log errors and retry steps.</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Can evolve over time with feedback and memory.</a:t>
            </a:r>
            <a:endParaRPr lang="en-US" sz="1400" dirty="0"/>
          </a:p>
        </p:txBody>
      </p:sp>
    </p:spTree>
    <p:extLst>
      <p:ext uri="{BB962C8B-B14F-4D97-AF65-F5344CB8AC3E}">
        <p14:creationId xmlns:p14="http://schemas.microsoft.com/office/powerpoint/2010/main" val="39920969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en Not to Use an AI 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5657CD85-801F-FB93-5B2C-DA62953FE311}"/>
              </a:ext>
            </a:extLst>
          </p:cNvPr>
          <p:cNvSpPr txBox="1"/>
          <p:nvPr/>
        </p:nvSpPr>
        <p:spPr>
          <a:xfrm>
            <a:off x="875938" y="2025420"/>
            <a:ext cx="10744200" cy="3046988"/>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If the task was simpler, like: "Summarize a block of text and send it via email",</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 Generative AI prompt + API script would be more efficient. You can:</a:t>
            </a:r>
          </a:p>
          <a:p>
            <a:r>
              <a:rPr lang="en-US" sz="1600" dirty="0">
                <a:latin typeface="Arial" panose="020B0604020202020204" pitchFamily="34" charset="0"/>
                <a:cs typeface="Arial" panose="020B0604020202020204" pitchFamily="34" charset="0"/>
              </a:rPr>
              <a:t>Paste the reviews manually.</a:t>
            </a:r>
          </a:p>
          <a:p>
            <a:r>
              <a:rPr lang="en-US" sz="1600" dirty="0">
                <a:latin typeface="Arial" panose="020B0604020202020204" pitchFamily="34" charset="0"/>
                <a:cs typeface="Arial" panose="020B0604020202020204" pitchFamily="34" charset="0"/>
              </a:rPr>
              <a:t>Use a single GPT prompt to summarize them.</a:t>
            </a:r>
          </a:p>
          <a:p>
            <a:r>
              <a:rPr lang="en-US" sz="1600" dirty="0">
                <a:latin typeface="Arial" panose="020B0604020202020204" pitchFamily="34" charset="0"/>
                <a:cs typeface="Arial" panose="020B0604020202020204" pitchFamily="34" charset="0"/>
              </a:rPr>
              <a:t>Trigger an email function.</a:t>
            </a:r>
          </a:p>
          <a:p>
            <a:endParaRPr lang="en-US" sz="1600" dirty="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Why Not an Agent?</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No need for autonomy or adaptive planning.</a:t>
            </a:r>
          </a:p>
          <a:p>
            <a:r>
              <a:rPr lang="en-US" sz="1600" dirty="0">
                <a:latin typeface="Arial" panose="020B0604020202020204" pitchFamily="34" charset="0"/>
                <a:cs typeface="Arial" panose="020B0604020202020204" pitchFamily="34" charset="0"/>
              </a:rPr>
              <a:t>Simpler, faster, and cheaper to do in one shot.</a:t>
            </a:r>
          </a:p>
          <a:p>
            <a:r>
              <a:rPr lang="en-US" sz="1600" dirty="0">
                <a:latin typeface="Arial" panose="020B0604020202020204" pitchFamily="34" charset="0"/>
                <a:cs typeface="Arial" panose="020B0604020202020204" pitchFamily="34" charset="0"/>
              </a:rPr>
              <a:t>Easier to debug and deploy.</a:t>
            </a:r>
          </a:p>
        </p:txBody>
      </p:sp>
    </p:spTree>
    <p:extLst>
      <p:ext uri="{BB962C8B-B14F-4D97-AF65-F5344CB8AC3E}">
        <p14:creationId xmlns:p14="http://schemas.microsoft.com/office/powerpoint/2010/main" val="34496039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uild An 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309428" y="1078029"/>
            <a:ext cx="11501572"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C783F457-3C7A-DD0C-0262-FAC36D33EE4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769" y="2819400"/>
            <a:ext cx="108966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0435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Framework</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309428" y="1078029"/>
            <a:ext cx="11501572"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2">
            <a:extLst>
              <a:ext uri="{FF2B5EF4-FFF2-40B4-BE49-F238E27FC236}">
                <a16:creationId xmlns:a16="http://schemas.microsoft.com/office/drawing/2014/main" id="{25BC0352-2226-3203-6047-D80A3B3FC2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2463" y="1541417"/>
            <a:ext cx="7267074" cy="3944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3608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Framework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graphicFrame>
        <p:nvGraphicFramePr>
          <p:cNvPr id="3" name="Table 2">
            <a:extLst>
              <a:ext uri="{FF2B5EF4-FFF2-40B4-BE49-F238E27FC236}">
                <a16:creationId xmlns:a16="http://schemas.microsoft.com/office/drawing/2014/main" id="{A1ABE5B7-0532-605D-9C78-0774611F2C2D}"/>
              </a:ext>
            </a:extLst>
          </p:cNvPr>
          <p:cNvGraphicFramePr>
            <a:graphicFrameLocks noGrp="1"/>
          </p:cNvGraphicFramePr>
          <p:nvPr>
            <p:extLst>
              <p:ext uri="{D42A27DB-BD31-4B8C-83A1-F6EECF244321}">
                <p14:modId xmlns:p14="http://schemas.microsoft.com/office/powerpoint/2010/main" val="3120079278"/>
              </p:ext>
            </p:extLst>
          </p:nvPr>
        </p:nvGraphicFramePr>
        <p:xfrm>
          <a:off x="360000" y="965952"/>
          <a:ext cx="8035124" cy="5234511"/>
        </p:xfrm>
        <a:graphic>
          <a:graphicData uri="http://schemas.openxmlformats.org/drawingml/2006/table">
            <a:tbl>
              <a:tblPr/>
              <a:tblGrid>
                <a:gridCol w="1545000">
                  <a:extLst>
                    <a:ext uri="{9D8B030D-6E8A-4147-A177-3AD203B41FA5}">
                      <a16:colId xmlns:a16="http://schemas.microsoft.com/office/drawing/2014/main" val="2036412408"/>
                    </a:ext>
                  </a:extLst>
                </a:gridCol>
                <a:gridCol w="1295400">
                  <a:extLst>
                    <a:ext uri="{9D8B030D-6E8A-4147-A177-3AD203B41FA5}">
                      <a16:colId xmlns:a16="http://schemas.microsoft.com/office/drawing/2014/main" val="1005039473"/>
                    </a:ext>
                  </a:extLst>
                </a:gridCol>
                <a:gridCol w="3810000">
                  <a:extLst>
                    <a:ext uri="{9D8B030D-6E8A-4147-A177-3AD203B41FA5}">
                      <a16:colId xmlns:a16="http://schemas.microsoft.com/office/drawing/2014/main" val="1381170403"/>
                    </a:ext>
                  </a:extLst>
                </a:gridCol>
                <a:gridCol w="1384724">
                  <a:extLst>
                    <a:ext uri="{9D8B030D-6E8A-4147-A177-3AD203B41FA5}">
                      <a16:colId xmlns:a16="http://schemas.microsoft.com/office/drawing/2014/main" val="240291148"/>
                    </a:ext>
                  </a:extLst>
                </a:gridCol>
              </a:tblGrid>
              <a:tr h="370449">
                <a:tc>
                  <a:txBody>
                    <a:bodyPr/>
                    <a:lstStyle/>
                    <a:p>
                      <a:pPr algn="ctr"/>
                      <a:r>
                        <a:rPr lang="en-US" sz="1600" b="1" dirty="0">
                          <a:latin typeface="Arial" panose="020B0604020202020204" pitchFamily="34" charset="0"/>
                          <a:cs typeface="Arial" panose="020B0604020202020204" pitchFamily="34" charset="0"/>
                        </a:rPr>
                        <a:t>Framework</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latin typeface="Arial" panose="020B0604020202020204" pitchFamily="34" charset="0"/>
                          <a:cs typeface="Arial" panose="020B0604020202020204" pitchFamily="34" charset="0"/>
                        </a:rPr>
                        <a:t>Language</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latin typeface="Arial" panose="020B0604020202020204" pitchFamily="34" charset="0"/>
                          <a:cs typeface="Arial" panose="020B0604020202020204" pitchFamily="34" charset="0"/>
                        </a:rPr>
                        <a:t>Descripti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latin typeface="Arial" panose="020B0604020202020204" pitchFamily="34" charset="0"/>
                          <a:cs typeface="Arial" panose="020B0604020202020204" pitchFamily="34" charset="0"/>
                        </a:rPr>
                        <a:t>Best For</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92667740"/>
                  </a:ext>
                </a:extLst>
              </a:tr>
              <a:tr h="654861">
                <a:tc>
                  <a:txBody>
                    <a:bodyPr/>
                    <a:lstStyle/>
                    <a:p>
                      <a:pPr algn="ctr"/>
                      <a:r>
                        <a:rPr lang="en-US" sz="1400" b="1" dirty="0" err="1">
                          <a:latin typeface="Arial" panose="020B0604020202020204" pitchFamily="34" charset="0"/>
                          <a:cs typeface="Arial" panose="020B0604020202020204" pitchFamily="34" charset="0"/>
                        </a:rPr>
                        <a:t>LangGraph</a:t>
                      </a:r>
                      <a:endParaRPr lang="en-US" sz="1400" dirty="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Python, </a:t>
                      </a:r>
                      <a:r>
                        <a:rPr lang="en-US" sz="1400" dirty="0" err="1">
                          <a:latin typeface="Arial" panose="020B0604020202020204" pitchFamily="34" charset="0"/>
                          <a:cs typeface="Arial" panose="020B0604020202020204" pitchFamily="34" charset="0"/>
                        </a:rPr>
                        <a:t>Javascript</a:t>
                      </a:r>
                      <a:endParaRPr lang="en-US" sz="1400" dirty="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A graph-based framework built on top of </a:t>
                      </a:r>
                      <a:r>
                        <a:rPr lang="en-US" sz="1400" dirty="0" err="1">
                          <a:latin typeface="Arial" panose="020B0604020202020204" pitchFamily="34" charset="0"/>
                          <a:cs typeface="Arial" panose="020B0604020202020204" pitchFamily="34" charset="0"/>
                        </a:rPr>
                        <a:t>LangChain</a:t>
                      </a:r>
                      <a:r>
                        <a:rPr lang="en-US" sz="1400" dirty="0">
                          <a:latin typeface="Arial" panose="020B0604020202020204" pitchFamily="34" charset="0"/>
                          <a:cs typeface="Arial" panose="020B0604020202020204" pitchFamily="34" charset="0"/>
                        </a:rPr>
                        <a:t>, designed to coordinate multiple agents and tools with memory.</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Structured agent workflows with LLM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9887321"/>
                  </a:ext>
                </a:extLst>
              </a:tr>
              <a:tr h="654861">
                <a:tc>
                  <a:txBody>
                    <a:bodyPr/>
                    <a:lstStyle/>
                    <a:p>
                      <a:pPr algn="ctr"/>
                      <a:r>
                        <a:rPr lang="en-US" sz="1400" b="1" dirty="0" err="1">
                          <a:latin typeface="Arial" panose="020B0604020202020204" pitchFamily="34" charset="0"/>
                          <a:cs typeface="Arial" panose="020B0604020202020204" pitchFamily="34" charset="0"/>
                        </a:rPr>
                        <a:t>CrewAI</a:t>
                      </a:r>
                      <a:endParaRPr lang="en-US" sz="1400" dirty="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Simple and intuitive agent orchestration framework for teams of LLM agents. Uses a “Crew” and “Agent” model with roles and goal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Task-oriented multi-agent collaborati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439811"/>
                  </a:ext>
                </a:extLst>
              </a:tr>
              <a:tr h="654861">
                <a:tc>
                  <a:txBody>
                    <a:bodyPr/>
                    <a:lstStyle/>
                    <a:p>
                      <a:pPr algn="ctr"/>
                      <a:r>
                        <a:rPr lang="en-US" sz="1400" b="1" dirty="0" err="1">
                          <a:latin typeface="Arial" panose="020B0604020202020204" pitchFamily="34" charset="0"/>
                          <a:cs typeface="Arial" panose="020B0604020202020204" pitchFamily="34" charset="0"/>
                        </a:rPr>
                        <a:t>AutoGen</a:t>
                      </a:r>
                      <a:endParaRPr lang="en-US" sz="1400" dirty="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Microsoft’s framework for building LLM-powered agents that communicate via messaging. Supports human-AI and AI-AI collaborati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Multi-agent chat and complex interaction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8734370"/>
                  </a:ext>
                </a:extLst>
              </a:tr>
              <a:tr h="498090">
                <a:tc>
                  <a:txBody>
                    <a:bodyPr/>
                    <a:lstStyle/>
                    <a:p>
                      <a:pPr algn="ctr"/>
                      <a:r>
                        <a:rPr lang="en-US" sz="1400" b="1">
                          <a:latin typeface="Arial" panose="020B0604020202020204" pitchFamily="34" charset="0"/>
                          <a:cs typeface="Arial" panose="020B0604020202020204" pitchFamily="34" charset="0"/>
                        </a:rPr>
                        <a:t>AgentVerse</a:t>
                      </a:r>
                      <a:endParaRPr lang="en-US" sz="140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Designed for simulating and evaluating large numbers of agents. Ideal for research on collective behavior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Multi-agent simulations and social dynamic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1298282"/>
                  </a:ext>
                </a:extLst>
              </a:tr>
              <a:tr h="654861">
                <a:tc>
                  <a:txBody>
                    <a:bodyPr/>
                    <a:lstStyle/>
                    <a:p>
                      <a:pPr algn="ctr"/>
                      <a:r>
                        <a:rPr lang="en-US" sz="1400" b="1">
                          <a:latin typeface="Arial" panose="020B0604020202020204" pitchFamily="34" charset="0"/>
                          <a:cs typeface="Arial" panose="020B0604020202020204" pitchFamily="34" charset="0"/>
                        </a:rPr>
                        <a:t>OpenAgents</a:t>
                      </a:r>
                      <a:endParaRPr lang="en-US" sz="140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Open-source project combining </a:t>
                      </a:r>
                      <a:r>
                        <a:rPr lang="en-US" sz="1400" dirty="0" err="1">
                          <a:latin typeface="Arial" panose="020B0604020202020204" pitchFamily="34" charset="0"/>
                          <a:cs typeface="Arial" panose="020B0604020202020204" pitchFamily="34" charset="0"/>
                        </a:rPr>
                        <a:t>LangChai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astAPI</a:t>
                      </a:r>
                      <a:r>
                        <a:rPr lang="en-US" sz="1400" dirty="0">
                          <a:latin typeface="Arial" panose="020B0604020202020204" pitchFamily="34" charset="0"/>
                          <a:cs typeface="Arial" panose="020B0604020202020204" pitchFamily="34" charset="0"/>
                        </a:rPr>
                        <a:t>, and other tools. Allows UI integration and multi-agent task executi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Developer-friendly agent app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9778038"/>
                  </a:ext>
                </a:extLst>
              </a:tr>
              <a:tr h="498090">
                <a:tc>
                  <a:txBody>
                    <a:bodyPr/>
                    <a:lstStyle/>
                    <a:p>
                      <a:pPr algn="ctr"/>
                      <a:r>
                        <a:rPr lang="en-US" sz="1400" b="1" dirty="0" err="1">
                          <a:latin typeface="Arial" panose="020B0604020202020204" pitchFamily="34" charset="0"/>
                          <a:cs typeface="Arial" panose="020B0604020202020204" pitchFamily="34" charset="0"/>
                        </a:rPr>
                        <a:t>MiniAGI</a:t>
                      </a:r>
                      <a:endParaRPr lang="en-US" sz="1400" dirty="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Lightweight framework for building LLM-based agents using memory, tools, and recursive reasoning.</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Quick experimentation with agent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0925519"/>
                  </a:ext>
                </a:extLst>
              </a:tr>
              <a:tr h="654861">
                <a:tc>
                  <a:txBody>
                    <a:bodyPr/>
                    <a:lstStyle/>
                    <a:p>
                      <a:pPr algn="ctr"/>
                      <a:r>
                        <a:rPr lang="en-US" sz="1400" b="1">
                          <a:latin typeface="Arial" panose="020B0604020202020204" pitchFamily="34" charset="0"/>
                          <a:cs typeface="Arial" panose="020B0604020202020204" pitchFamily="34" charset="0"/>
                        </a:rPr>
                        <a:t>MetaGPT</a:t>
                      </a:r>
                      <a:endParaRPr lang="en-US" sz="1400">
                        <a:latin typeface="Arial" panose="020B0604020202020204" pitchFamily="34" charset="0"/>
                        <a:cs typeface="Arial" panose="020B0604020202020204" pitchFamily="34" charset="0"/>
                      </a:endParaRP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Python</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400" dirty="0">
                          <a:latin typeface="Arial" panose="020B0604020202020204" pitchFamily="34" charset="0"/>
                          <a:cs typeface="Arial" panose="020B0604020202020204" pitchFamily="34" charset="0"/>
                        </a:rPr>
                        <a:t>Treats AI agents like team members in a software company (e.g., PM, engineer, QA). Modular and production-oriented.</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Building software with agent teams.</a:t>
                      </a:r>
                    </a:p>
                  </a:txBody>
                  <a:tcPr marL="24305" marR="24305" marT="12153" marB="121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4238776"/>
                  </a:ext>
                </a:extLst>
              </a:tr>
            </a:tbl>
          </a:graphicData>
        </a:graphic>
      </p:graphicFrame>
      <p:pic>
        <p:nvPicPr>
          <p:cNvPr id="6" name="Picture 2" descr="LangGraph (LangChain) Logo Free Down ...">
            <a:extLst>
              <a:ext uri="{FF2B5EF4-FFF2-40B4-BE49-F238E27FC236}">
                <a16:creationId xmlns:a16="http://schemas.microsoft.com/office/drawing/2014/main" id="{1A9E59AD-1927-8864-C619-942FB9BA323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2931" b="21592"/>
          <a:stretch/>
        </p:blipFill>
        <p:spPr bwMode="auto">
          <a:xfrm>
            <a:off x="9339244" y="4897087"/>
            <a:ext cx="2130658" cy="11820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descr="CREW AI- Building My First Agents crew | by Nitya Sagar | Medium">
            <a:extLst>
              <a:ext uri="{FF2B5EF4-FFF2-40B4-BE49-F238E27FC236}">
                <a16:creationId xmlns:a16="http://schemas.microsoft.com/office/drawing/2014/main" id="{739217C5-1F7E-26B4-00DC-39DEC296F40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26965" y="2044715"/>
            <a:ext cx="2424749" cy="8366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 name="Picture 8" descr="AutoGen — AutoGen">
            <a:extLst>
              <a:ext uri="{FF2B5EF4-FFF2-40B4-BE49-F238E27FC236}">
                <a16:creationId xmlns:a16="http://schemas.microsoft.com/office/drawing/2014/main" id="{F6831226-738F-CF41-720E-C1EFEDEFC7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56818" y="3449518"/>
            <a:ext cx="1054210" cy="1054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gentverse - AI Agent Reviews, Features ...">
            <a:extLst>
              <a:ext uri="{FF2B5EF4-FFF2-40B4-BE49-F238E27FC236}">
                <a16:creationId xmlns:a16="http://schemas.microsoft.com/office/drawing/2014/main" id="{B77295C9-8C6B-830C-DA54-F57C6CAD5EB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51881" y="3667612"/>
            <a:ext cx="618021" cy="618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411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B67D27C4-DE7A-07AE-3246-FA55073C1FF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184275"/>
            <a:ext cx="12192000" cy="4489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8">
            <a:extLst>
              <a:ext uri="{FF2B5EF4-FFF2-40B4-BE49-F238E27FC236}">
                <a16:creationId xmlns:a16="http://schemas.microsoft.com/office/drawing/2014/main" id="{789375E0-9A0B-A411-7DED-D416D9B3B525}"/>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I Agents Framework Comparison</a:t>
            </a:r>
          </a:p>
        </p:txBody>
      </p:sp>
    </p:spTree>
    <p:extLst>
      <p:ext uri="{BB962C8B-B14F-4D97-AF65-F5344CB8AC3E}">
        <p14:creationId xmlns:p14="http://schemas.microsoft.com/office/powerpoint/2010/main" val="14126549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network&#10;&#10;AI-generated content may be incorrect.">
            <a:extLst>
              <a:ext uri="{FF2B5EF4-FFF2-40B4-BE49-F238E27FC236}">
                <a16:creationId xmlns:a16="http://schemas.microsoft.com/office/drawing/2014/main" id="{1C7AA4F9-D82D-A240-A725-666E1DE52BFD}"/>
              </a:ext>
            </a:extLst>
          </p:cNvPr>
          <p:cNvPicPr>
            <a:picLocks noChangeAspect="1"/>
          </p:cNvPicPr>
          <p:nvPr/>
        </p:nvPicPr>
        <p:blipFill>
          <a:blip r:embed="rId2" cstate="print">
            <a:duotone>
              <a:srgbClr val="FF6600">
                <a:shade val="45000"/>
                <a:satMod val="135000"/>
              </a:srgbClr>
              <a:prstClr val="white"/>
            </a:duotone>
            <a:alphaModFix amt="35000"/>
            <a:extLst>
              <a:ext uri="{28A0092B-C50C-407E-A947-70E740481C1C}">
                <a14:useLocalDpi xmlns:a14="http://schemas.microsoft.com/office/drawing/2010/main" val="0"/>
              </a:ext>
            </a:extLst>
          </a:blip>
          <a:stretch>
            <a:fillRect/>
          </a:stretch>
        </p:blipFill>
        <p:spPr>
          <a:xfrm>
            <a:off x="51881" y="-889407"/>
            <a:ext cx="12192000" cy="8636813"/>
          </a:xfrm>
          <a:prstGeom prst="rect">
            <a:avLst/>
          </a:prstGeom>
        </p:spPr>
      </p:pic>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8" name="Rectangle: Rounded Corners 7">
            <a:extLst>
              <a:ext uri="{FF2B5EF4-FFF2-40B4-BE49-F238E27FC236}">
                <a16:creationId xmlns:a16="http://schemas.microsoft.com/office/drawing/2014/main" id="{7434C13A-ACDC-D390-7176-09BC2886D7EA}"/>
              </a:ext>
            </a:extLst>
          </p:cNvPr>
          <p:cNvSpPr/>
          <p:nvPr/>
        </p:nvSpPr>
        <p:spPr>
          <a:xfrm>
            <a:off x="2380412" y="1028293"/>
            <a:ext cx="7431175" cy="4957053"/>
          </a:xfrm>
          <a:prstGeom prst="roundRect">
            <a:avLst/>
          </a:prstGeom>
          <a:solidFill>
            <a:sysClr val="window" lastClr="FFFFFF"/>
          </a:solidFill>
          <a:ln w="19050" cap="flat" cmpd="sng" algn="ctr">
            <a:solidFill>
              <a:srgbClr val="FF6600"/>
            </a:solid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black"/>
              </a:solidFill>
              <a:effectLst/>
              <a:uLnTx/>
              <a:uFillTx/>
              <a:latin typeface="Arial"/>
              <a:ea typeface="+mn-ea"/>
              <a:cs typeface="+mn-cs"/>
            </a:endParaRPr>
          </a:p>
        </p:txBody>
      </p:sp>
      <p:sp>
        <p:nvSpPr>
          <p:cNvPr id="4" name="Title 8">
            <a:extLst>
              <a:ext uri="{FF2B5EF4-FFF2-40B4-BE49-F238E27FC236}">
                <a16:creationId xmlns:a16="http://schemas.microsoft.com/office/drawing/2014/main" id="{3E7F068C-7331-4C29-982C-3427FBB32AA9}"/>
              </a:ext>
            </a:extLst>
          </p:cNvPr>
          <p:cNvSpPr txBox="1">
            <a:spLocks/>
          </p:cNvSpPr>
          <p:nvPr/>
        </p:nvSpPr>
        <p:spPr>
          <a:xfrm>
            <a:off x="4345040" y="3172672"/>
            <a:ext cx="3605681" cy="66829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60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DEMO</a:t>
            </a:r>
          </a:p>
        </p:txBody>
      </p:sp>
    </p:spTree>
    <p:extLst>
      <p:ext uri="{BB962C8B-B14F-4D97-AF65-F5344CB8AC3E}">
        <p14:creationId xmlns:p14="http://schemas.microsoft.com/office/powerpoint/2010/main" val="3591589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I Agent Patter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C0C3D33F-7CAD-774E-8F7A-D88636CF0B22}"/>
              </a:ext>
            </a:extLst>
          </p:cNvPr>
          <p:cNvSpPr txBox="1"/>
          <p:nvPr/>
        </p:nvSpPr>
        <p:spPr>
          <a:xfrm>
            <a:off x="834690" y="2459504"/>
            <a:ext cx="10515600" cy="1938992"/>
          </a:xfrm>
          <a:prstGeom prst="rect">
            <a:avLst/>
          </a:prstGeom>
          <a:noFill/>
        </p:spPr>
        <p:txBody>
          <a:bodyPr wrap="square">
            <a:spAutoFit/>
          </a:bodyPr>
          <a:lstStyle/>
          <a:p>
            <a:pPr marL="342900" indent="-342900" algn="l">
              <a:lnSpc>
                <a:spcPts val="2400"/>
              </a:lnSpc>
              <a:buFont typeface="Wingdings" panose="05000000000000000000" pitchFamily="2" charset="2"/>
              <a:buChar char="v"/>
            </a:pPr>
            <a:r>
              <a:rPr lang="en-US" sz="2000" dirty="0">
                <a:latin typeface="Arial" panose="020B0604020202020204" pitchFamily="34" charset="0"/>
                <a:cs typeface="Arial" panose="020B0604020202020204" pitchFamily="34" charset="0"/>
              </a:rPr>
              <a:t>Agent patterns in AI refer to design approaches that enable AI systems to act more autonomously and intelligently. </a:t>
            </a:r>
          </a:p>
          <a:p>
            <a:pPr marL="342900" indent="-342900" algn="l">
              <a:lnSpc>
                <a:spcPts val="2400"/>
              </a:lnSpc>
              <a:buFont typeface="Wingdings" panose="05000000000000000000" pitchFamily="2" charset="2"/>
              <a:buChar char="v"/>
            </a:pPr>
            <a:endParaRPr lang="en-US" sz="2000" dirty="0">
              <a:latin typeface="Arial" panose="020B0604020202020204" pitchFamily="34" charset="0"/>
              <a:cs typeface="Arial" panose="020B0604020202020204" pitchFamily="34" charset="0"/>
            </a:endParaRPr>
          </a:p>
          <a:p>
            <a:pPr marL="342900" indent="-342900" algn="l">
              <a:lnSpc>
                <a:spcPts val="2400"/>
              </a:lnSpc>
              <a:buFont typeface="Wingdings" panose="05000000000000000000" pitchFamily="2" charset="2"/>
              <a:buChar char="v"/>
            </a:pPr>
            <a:r>
              <a:rPr lang="en-US" sz="2000" dirty="0">
                <a:latin typeface="Arial" panose="020B0604020202020204" pitchFamily="34" charset="0"/>
                <a:cs typeface="Arial" panose="020B0604020202020204" pitchFamily="34" charset="0"/>
              </a:rPr>
              <a:t>These patterns, like Reflection, Tool Use, Planning, and Multi-Agent Collaboration, empower AI to reason, plan, execute tasks, and learn from their actions, mimicking human-like problem-solving capabilities.</a:t>
            </a:r>
          </a:p>
        </p:txBody>
      </p:sp>
    </p:spTree>
    <p:extLst>
      <p:ext uri="{BB962C8B-B14F-4D97-AF65-F5344CB8AC3E}">
        <p14:creationId xmlns:p14="http://schemas.microsoft.com/office/powerpoint/2010/main" val="251012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flection Patter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1CA8D05-A6A9-0142-C863-531061D238FC}"/>
              </a:ext>
            </a:extLst>
          </p:cNvPr>
          <p:cNvSpPr txBox="1"/>
          <p:nvPr/>
        </p:nvSpPr>
        <p:spPr>
          <a:xfrm>
            <a:off x="1027437" y="1371600"/>
            <a:ext cx="9846714" cy="830997"/>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The Reflection Pattern enables an AI agent to pause and evaluate its current progress, strategy, and understanding. It often involves meta-cognition—thinking about what has been done and what needs to be adjusted to reach a goal more efficiently.</a:t>
            </a:r>
          </a:p>
        </p:txBody>
      </p:sp>
      <p:pic>
        <p:nvPicPr>
          <p:cNvPr id="6" name="Picture 8" descr="Agentic Design Patterns  - Relection Pattern">
            <a:extLst>
              <a:ext uri="{FF2B5EF4-FFF2-40B4-BE49-F238E27FC236}">
                <a16:creationId xmlns:a16="http://schemas.microsoft.com/office/drawing/2014/main" id="{BF190EAC-2998-56EA-0604-C91337130D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1547" y="2632234"/>
            <a:ext cx="5803016" cy="3147737"/>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688AD116-2C54-A5F4-C32C-974F13DA0922}"/>
              </a:ext>
            </a:extLst>
          </p:cNvPr>
          <p:cNvSpPr txBox="1">
            <a:spLocks/>
          </p:cNvSpPr>
          <p:nvPr/>
        </p:nvSpPr>
        <p:spPr>
          <a:xfrm>
            <a:off x="1027437" y="2931300"/>
            <a:ext cx="4294467" cy="13849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Encourages introspection and self-evaluation.</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Useful for complex or multi-step tasks.</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Helps identify errors and improve reasoning.</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Often implemented via checkpoints or "thought loops".</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Can be combined with memory modules for deeper reasoning.</a:t>
            </a:r>
          </a:p>
        </p:txBody>
      </p:sp>
    </p:spTree>
    <p:extLst>
      <p:ext uri="{BB962C8B-B14F-4D97-AF65-F5344CB8AC3E}">
        <p14:creationId xmlns:p14="http://schemas.microsoft.com/office/powerpoint/2010/main" val="5804522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ool Use Patter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1CA8D05-A6A9-0142-C863-531061D238FC}"/>
              </a:ext>
            </a:extLst>
          </p:cNvPr>
          <p:cNvSpPr txBox="1"/>
          <p:nvPr/>
        </p:nvSpPr>
        <p:spPr>
          <a:xfrm>
            <a:off x="1027437" y="1371600"/>
            <a:ext cx="9846714" cy="830997"/>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The Tool Use Pattern allows agents to call upon external APIs, databases, calculators, or plugins to extend their capabilities beyond native reasoning. This empowers agents to handle a wider range of tasks effectively.</a:t>
            </a:r>
          </a:p>
        </p:txBody>
      </p:sp>
      <p:pic>
        <p:nvPicPr>
          <p:cNvPr id="3" name="Picture 2" descr="Toll Use Pattern">
            <a:extLst>
              <a:ext uri="{FF2B5EF4-FFF2-40B4-BE49-F238E27FC236}">
                <a16:creationId xmlns:a16="http://schemas.microsoft.com/office/drawing/2014/main" id="{35195EFC-E79F-EF82-7161-F3E041D24F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5955" y="2496168"/>
            <a:ext cx="5826235" cy="316033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DD5FB4FD-6717-3A38-06CF-21D080036A38}"/>
              </a:ext>
            </a:extLst>
          </p:cNvPr>
          <p:cNvSpPr txBox="1">
            <a:spLocks/>
          </p:cNvSpPr>
          <p:nvPr/>
        </p:nvSpPr>
        <p:spPr>
          <a:xfrm>
            <a:off x="1014737" y="2743200"/>
            <a:ext cx="4498399" cy="21494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Agent invokes tools like search engines, calculators, or code interpreters.</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Enables solving tasks beyond language-only capabilities.</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Often implemented in frameworks like </a:t>
            </a:r>
            <a:r>
              <a:rPr lang="en-US" sz="1600" dirty="0" err="1">
                <a:latin typeface="Arial" panose="020B0604020202020204" pitchFamily="34" charset="0"/>
                <a:cs typeface="Arial" panose="020B0604020202020204" pitchFamily="34" charset="0"/>
              </a:rPr>
              <a:t>LangChain</a:t>
            </a:r>
            <a:r>
              <a:rPr lang="en-US" sz="1600" dirty="0">
                <a:latin typeface="Arial" panose="020B0604020202020204" pitchFamily="34" charset="0"/>
                <a:cs typeface="Arial" panose="020B0604020202020204" pitchFamily="34" charset="0"/>
              </a:rPr>
              <a:t> or </a:t>
            </a:r>
            <a:r>
              <a:rPr lang="en-US" sz="1600" dirty="0" err="1">
                <a:latin typeface="Arial" panose="020B0604020202020204" pitchFamily="34" charset="0"/>
                <a:cs typeface="Arial" panose="020B0604020202020204" pitchFamily="34" charset="0"/>
              </a:rPr>
              <a:t>ReAct</a:t>
            </a:r>
            <a:r>
              <a:rPr lang="en-US" sz="1600" dirty="0">
                <a:latin typeface="Arial" panose="020B0604020202020204" pitchFamily="34" charset="0"/>
                <a:cs typeface="Arial" panose="020B0604020202020204" pitchFamily="34" charset="0"/>
              </a:rPr>
              <a:t>.</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Requires mechanisms for selecting and invoking tools dynamically.</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Important for real-world applications like retrieval-augmented generation (RAG).</a:t>
            </a:r>
          </a:p>
          <a:p>
            <a:pPr>
              <a:buFont typeface="Wingdings" panose="05000000000000000000" pitchFamily="2" charset="2"/>
              <a:buChar char="Ø"/>
            </a:pPr>
            <a:endParaRPr lang="x-none"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9398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BDD7EB7-E01D-31CC-62C9-61604C34023A}"/>
              </a:ext>
            </a:extLst>
          </p:cNvPr>
          <p:cNvSpPr txBox="1"/>
          <p:nvPr/>
        </p:nvSpPr>
        <p:spPr>
          <a:xfrm>
            <a:off x="1447800" y="2895600"/>
            <a:ext cx="9677400" cy="646331"/>
          </a:xfrm>
          <a:prstGeom prst="rect">
            <a:avLst/>
          </a:prstGeom>
          <a:noFill/>
        </p:spPr>
        <p:txBody>
          <a:bodyPr wrap="square" rtlCol="0">
            <a:spAutoFit/>
          </a:bodyPr>
          <a:lstStyle/>
          <a:p>
            <a:r>
              <a:rPr lang="en-US" sz="3600" dirty="0"/>
              <a:t>5-Day Learning Journey: Program Overview</a:t>
            </a:r>
            <a:endParaRPr lang="en-IN" sz="3600" dirty="0"/>
          </a:p>
        </p:txBody>
      </p:sp>
    </p:spTree>
    <p:extLst>
      <p:ext uri="{BB962C8B-B14F-4D97-AF65-F5344CB8AC3E}">
        <p14:creationId xmlns:p14="http://schemas.microsoft.com/office/powerpoint/2010/main" val="34060991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lanning patter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1CA8D05-A6A9-0142-C863-531061D238FC}"/>
              </a:ext>
            </a:extLst>
          </p:cNvPr>
          <p:cNvSpPr txBox="1"/>
          <p:nvPr/>
        </p:nvSpPr>
        <p:spPr>
          <a:xfrm>
            <a:off x="1027437" y="1371600"/>
            <a:ext cx="9846714" cy="584775"/>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The Planning Pattern involves creating a step-by-step plan before executing actions. This structure ensures logical task progression, especially for multi-step or high-stakes tasks requiring accuracy.</a:t>
            </a:r>
          </a:p>
        </p:txBody>
      </p:sp>
      <p:sp>
        <p:nvSpPr>
          <p:cNvPr id="7" name="Content Placeholder 2">
            <a:extLst>
              <a:ext uri="{FF2B5EF4-FFF2-40B4-BE49-F238E27FC236}">
                <a16:creationId xmlns:a16="http://schemas.microsoft.com/office/drawing/2014/main" id="{DD5FB4FD-6717-3A38-06CF-21D080036A38}"/>
              </a:ext>
            </a:extLst>
          </p:cNvPr>
          <p:cNvSpPr txBox="1">
            <a:spLocks/>
          </p:cNvSpPr>
          <p:nvPr/>
        </p:nvSpPr>
        <p:spPr>
          <a:xfrm>
            <a:off x="1014737" y="2743200"/>
            <a:ext cx="4498399" cy="21494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Agent outlines goals and subgoals in advance.</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Reduces trial-and-error and improves efficiency.</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Useful for code generation, reasoning, and long documents.</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Often uses a planner-executor model.</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Enhances transparency and traceability in agent behavior.</a:t>
            </a:r>
          </a:p>
        </p:txBody>
      </p:sp>
      <p:pic>
        <p:nvPicPr>
          <p:cNvPr id="6" name="Picture 6" descr="Planning Pattern">
            <a:extLst>
              <a:ext uri="{FF2B5EF4-FFF2-40B4-BE49-F238E27FC236}">
                <a16:creationId xmlns:a16="http://schemas.microsoft.com/office/drawing/2014/main" id="{DF6F9E56-E96E-AFD6-6086-28C0C31ACB2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173"/>
          <a:stretch/>
        </p:blipFill>
        <p:spPr bwMode="auto">
          <a:xfrm>
            <a:off x="5670430" y="2399233"/>
            <a:ext cx="5203721" cy="3177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038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Multi-agent patter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1CA8D05-A6A9-0142-C863-531061D238FC}"/>
              </a:ext>
            </a:extLst>
          </p:cNvPr>
          <p:cNvSpPr txBox="1"/>
          <p:nvPr/>
        </p:nvSpPr>
        <p:spPr>
          <a:xfrm>
            <a:off x="1027437" y="1371600"/>
            <a:ext cx="9846714" cy="830997"/>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The Multi-Agent Pattern distributes a task across multiple specialized agents, each responsible for a specific role. These agents can collaborate, compete, or coordinate, enabling more scalable and modular solutions.</a:t>
            </a:r>
          </a:p>
        </p:txBody>
      </p:sp>
      <p:sp>
        <p:nvSpPr>
          <p:cNvPr id="7" name="Content Placeholder 2">
            <a:extLst>
              <a:ext uri="{FF2B5EF4-FFF2-40B4-BE49-F238E27FC236}">
                <a16:creationId xmlns:a16="http://schemas.microsoft.com/office/drawing/2014/main" id="{DD5FB4FD-6717-3A38-06CF-21D080036A38}"/>
              </a:ext>
            </a:extLst>
          </p:cNvPr>
          <p:cNvSpPr txBox="1">
            <a:spLocks/>
          </p:cNvSpPr>
          <p:nvPr/>
        </p:nvSpPr>
        <p:spPr>
          <a:xfrm>
            <a:off x="1014737" y="2743200"/>
            <a:ext cx="4498399" cy="21494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Supports parallelism and specialization.</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Agents can be role-based (e.g., writer, reviewer, executor).</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Encourages emergent behavior and coordination.</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Ideal for complex tasks like research, code review, or game playing.</a:t>
            </a:r>
          </a:p>
          <a:p>
            <a:pPr>
              <a:buFont typeface="Wingdings" panose="05000000000000000000" pitchFamily="2" charset="2"/>
              <a:buChar char="Ø"/>
            </a:pPr>
            <a:r>
              <a:rPr lang="en-US" sz="1600" dirty="0">
                <a:latin typeface="Arial" panose="020B0604020202020204" pitchFamily="34" charset="0"/>
                <a:cs typeface="Arial" panose="020B0604020202020204" pitchFamily="34" charset="0"/>
              </a:rPr>
              <a:t>Can integrate with human feedback or supervisor agents.</a:t>
            </a:r>
          </a:p>
        </p:txBody>
      </p:sp>
      <p:pic>
        <p:nvPicPr>
          <p:cNvPr id="3" name="Picture 2" descr="MultiAgent Pattern">
            <a:extLst>
              <a:ext uri="{FF2B5EF4-FFF2-40B4-BE49-F238E27FC236}">
                <a16:creationId xmlns:a16="http://schemas.microsoft.com/office/drawing/2014/main" id="{1816D041-E2EB-551F-9C26-1F8416AAB8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96431" y="2458068"/>
            <a:ext cx="6053859" cy="3283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2165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atterns </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654518" y="1078029"/>
            <a:ext cx="10915048"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2A5DEA2-9AC1-3D0B-FC7D-09EEF544FAA5}"/>
              </a:ext>
            </a:extLst>
          </p:cNvPr>
          <p:cNvSpPr txBox="1"/>
          <p:nvPr/>
        </p:nvSpPr>
        <p:spPr>
          <a:xfrm>
            <a:off x="990600" y="1447800"/>
            <a:ext cx="10359690" cy="646331"/>
          </a:xfrm>
          <a:prstGeom prst="rect">
            <a:avLst/>
          </a:prstGeom>
          <a:noFill/>
        </p:spPr>
        <p:txBody>
          <a:bodyPr wrap="square">
            <a:spAutoFit/>
          </a:bodyPr>
          <a:lstStyle/>
          <a:p>
            <a:pPr algn="ctr"/>
            <a:r>
              <a:rPr lang="en-US" dirty="0">
                <a:latin typeface="Arial" panose="020B0604020202020204" pitchFamily="34" charset="0"/>
                <a:cs typeface="Arial" panose="020B0604020202020204" pitchFamily="34" charset="0"/>
              </a:rPr>
              <a:t>Each pattern offers unique strengths for building intelligent systems. Depending on task complexity, environment, and goals, one or more patterns can be combined for optimal performance.</a:t>
            </a:r>
          </a:p>
        </p:txBody>
      </p:sp>
      <p:graphicFrame>
        <p:nvGraphicFramePr>
          <p:cNvPr id="8" name="Table 7">
            <a:extLst>
              <a:ext uri="{FF2B5EF4-FFF2-40B4-BE49-F238E27FC236}">
                <a16:creationId xmlns:a16="http://schemas.microsoft.com/office/drawing/2014/main" id="{388758F4-A9E2-7255-54F9-16B64AE8FE19}"/>
              </a:ext>
            </a:extLst>
          </p:cNvPr>
          <p:cNvGraphicFramePr>
            <a:graphicFrameLocks noGrp="1"/>
          </p:cNvGraphicFramePr>
          <p:nvPr>
            <p:extLst>
              <p:ext uri="{D42A27DB-BD31-4B8C-83A1-F6EECF244321}">
                <p14:modId xmlns:p14="http://schemas.microsoft.com/office/powerpoint/2010/main" val="2510707446"/>
              </p:ext>
            </p:extLst>
          </p:nvPr>
        </p:nvGraphicFramePr>
        <p:xfrm>
          <a:off x="1197142" y="2743200"/>
          <a:ext cx="9829800" cy="2906830"/>
        </p:xfrm>
        <a:graphic>
          <a:graphicData uri="http://schemas.openxmlformats.org/drawingml/2006/table">
            <a:tbl>
              <a:tblPr/>
              <a:tblGrid>
                <a:gridCol w="1676400">
                  <a:extLst>
                    <a:ext uri="{9D8B030D-6E8A-4147-A177-3AD203B41FA5}">
                      <a16:colId xmlns:a16="http://schemas.microsoft.com/office/drawing/2014/main" val="2523676016"/>
                    </a:ext>
                  </a:extLst>
                </a:gridCol>
                <a:gridCol w="4876800">
                  <a:extLst>
                    <a:ext uri="{9D8B030D-6E8A-4147-A177-3AD203B41FA5}">
                      <a16:colId xmlns:a16="http://schemas.microsoft.com/office/drawing/2014/main" val="2083819712"/>
                    </a:ext>
                  </a:extLst>
                </a:gridCol>
                <a:gridCol w="3276600">
                  <a:extLst>
                    <a:ext uri="{9D8B030D-6E8A-4147-A177-3AD203B41FA5}">
                      <a16:colId xmlns:a16="http://schemas.microsoft.com/office/drawing/2014/main" val="231638229"/>
                    </a:ext>
                  </a:extLst>
                </a:gridCol>
              </a:tblGrid>
              <a:tr h="450354">
                <a:tc>
                  <a:txBody>
                    <a:bodyPr/>
                    <a:lstStyle/>
                    <a:p>
                      <a:pPr algn="ctr"/>
                      <a:r>
                        <a:rPr lang="en-US" sz="1600" b="1" dirty="0">
                          <a:latin typeface="Arial" panose="020B0604020202020204" pitchFamily="34" charset="0"/>
                          <a:cs typeface="Arial" panose="020B0604020202020204" pitchFamily="34" charset="0"/>
                        </a:rPr>
                        <a:t>Patt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600" b="1" dirty="0">
                          <a:latin typeface="Arial" panose="020B0604020202020204" pitchFamily="34" charset="0"/>
                          <a:cs typeface="Arial" panose="020B0604020202020204" pitchFamily="34" charset="0"/>
                        </a:rPr>
                        <a:t>Streng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600" b="1" dirty="0">
                          <a:latin typeface="Arial" panose="020B0604020202020204" pitchFamily="34" charset="0"/>
                          <a:cs typeface="Arial" panose="020B0604020202020204" pitchFamily="34" charset="0"/>
                        </a:rPr>
                        <a:t>Best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4039344503"/>
                  </a:ext>
                </a:extLst>
              </a:tr>
              <a:tr h="450354">
                <a:tc>
                  <a:txBody>
                    <a:bodyPr/>
                    <a:lstStyle/>
                    <a:p>
                      <a:pPr algn="ctr"/>
                      <a:r>
                        <a:rPr lang="en-US" sz="1600" dirty="0">
                          <a:latin typeface="Arial" panose="020B0604020202020204" pitchFamily="34" charset="0"/>
                          <a:cs typeface="Arial" panose="020B0604020202020204" pitchFamily="34" charset="0"/>
                        </a:rPr>
                        <a:t>Refl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Improves self-awareness and adapt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Debugging, strategy adjust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5507172"/>
                  </a:ext>
                </a:extLst>
              </a:tr>
              <a:tr h="450354">
                <a:tc>
                  <a:txBody>
                    <a:bodyPr/>
                    <a:lstStyle/>
                    <a:p>
                      <a:pPr algn="ctr"/>
                      <a:r>
                        <a:rPr lang="en-US" sz="1600">
                          <a:latin typeface="Arial" panose="020B0604020202020204" pitchFamily="34" charset="0"/>
                          <a:cs typeface="Arial" panose="020B0604020202020204" pitchFamily="34" charset="0"/>
                        </a:rPr>
                        <a:t>Tool U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Extends capabilities via external too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Math, retrieval, real-world ta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908544"/>
                  </a:ext>
                </a:extLst>
              </a:tr>
              <a:tr h="777884">
                <a:tc>
                  <a:txBody>
                    <a:bodyPr/>
                    <a:lstStyle/>
                    <a:p>
                      <a:pPr algn="ctr"/>
                      <a:r>
                        <a:rPr lang="en-US" sz="1600" dirty="0">
                          <a:latin typeface="Arial" panose="020B0604020202020204" pitchFamily="34" charset="0"/>
                          <a:cs typeface="Arial" panose="020B0604020202020204" pitchFamily="34" charset="0"/>
                        </a:rPr>
                        <a:t>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Provides structure and foresigh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Multi-step reasoning, code gen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7991338"/>
                  </a:ext>
                </a:extLst>
              </a:tr>
              <a:tr h="777884">
                <a:tc>
                  <a:txBody>
                    <a:bodyPr/>
                    <a:lstStyle/>
                    <a:p>
                      <a:pPr algn="ctr"/>
                      <a:r>
                        <a:rPr lang="en-US" sz="1600" dirty="0">
                          <a:latin typeface="Arial" panose="020B0604020202020204" pitchFamily="34" charset="0"/>
                          <a:cs typeface="Arial" panose="020B0604020202020204" pitchFamily="34" charset="0"/>
                        </a:rPr>
                        <a:t>Multi-Ag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Enables collaboration and modular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latin typeface="Arial" panose="020B0604020202020204" pitchFamily="34" charset="0"/>
                          <a:cs typeface="Arial" panose="020B0604020202020204" pitchFamily="34" charset="0"/>
                        </a:rPr>
                        <a:t>Complex, distributed task environ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2310159"/>
                  </a:ext>
                </a:extLst>
              </a:tr>
            </a:tbl>
          </a:graphicData>
        </a:graphic>
      </p:graphicFrame>
    </p:spTree>
    <p:extLst>
      <p:ext uri="{BB962C8B-B14F-4D97-AF65-F5344CB8AC3E}">
        <p14:creationId xmlns:p14="http://schemas.microsoft.com/office/powerpoint/2010/main" val="644693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Agentic AI?</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457200" y="1078029"/>
            <a:ext cx="11112366"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5011EFB-B444-127B-3688-0C7BA0377124}"/>
              </a:ext>
            </a:extLst>
          </p:cNvPr>
          <p:cNvSpPr txBox="1"/>
          <p:nvPr/>
        </p:nvSpPr>
        <p:spPr>
          <a:xfrm>
            <a:off x="684552" y="1447800"/>
            <a:ext cx="10611033" cy="4031873"/>
          </a:xfrm>
          <a:prstGeom prst="rect">
            <a:avLst/>
          </a:prstGeom>
          <a:noFill/>
        </p:spPr>
        <p:txBody>
          <a:bodyPr wrap="square">
            <a:spAutoFit/>
          </a:bodyPr>
          <a:lstStyle/>
          <a:p>
            <a:pPr algn="l" fontAlgn="base">
              <a:buNone/>
            </a:pPr>
            <a:r>
              <a:rPr lang="en-US" sz="1600" b="0" i="0" dirty="0">
                <a:solidFill>
                  <a:srgbClr val="161616"/>
                </a:solidFill>
                <a:effectLst/>
                <a:latin typeface="Arial" panose="020B0604020202020204" pitchFamily="34" charset="0"/>
                <a:cs typeface="Arial" panose="020B0604020202020204" pitchFamily="34" charset="0"/>
              </a:rPr>
              <a:t>Agentic AI is an </a:t>
            </a:r>
            <a:r>
              <a:rPr lang="en-US" sz="1600" b="0" i="0" u="none" strike="noStrike" dirty="0">
                <a:solidFill>
                  <a:srgbClr val="0F62FE"/>
                </a:solidFill>
                <a:effectLst/>
                <a:latin typeface="Arial" panose="020B0604020202020204" pitchFamily="34" charset="0"/>
                <a:cs typeface="Arial" panose="020B0604020202020204" pitchFamily="34" charset="0"/>
                <a:hlinkClick r:id="rId3"/>
              </a:rPr>
              <a:t>artificial intelligence</a:t>
            </a:r>
            <a:r>
              <a:rPr lang="en-US" sz="1600" b="0" i="0" dirty="0">
                <a:solidFill>
                  <a:srgbClr val="161616"/>
                </a:solidFill>
                <a:effectLst/>
                <a:latin typeface="Arial" panose="020B0604020202020204" pitchFamily="34" charset="0"/>
                <a:cs typeface="Arial" panose="020B0604020202020204" pitchFamily="34" charset="0"/>
              </a:rPr>
              <a:t> system that can accomplish a specific goal with limited supervision. It consists of AI agents—machine learning models that mimic human decision-making to solve problems in real time. In a multiagent system, each agent performs a specific subtask required to reach the goal and their efforts are coordinated through </a:t>
            </a:r>
            <a:r>
              <a:rPr lang="en-US" sz="1600" b="0" i="0" u="none" strike="noStrike" dirty="0">
                <a:solidFill>
                  <a:srgbClr val="0F62FE"/>
                </a:solidFill>
                <a:effectLst/>
                <a:latin typeface="Arial" panose="020B0604020202020204" pitchFamily="34" charset="0"/>
                <a:cs typeface="Arial" panose="020B0604020202020204" pitchFamily="34" charset="0"/>
                <a:hlinkClick r:id="rId4"/>
              </a:rPr>
              <a:t>AI orchestration</a:t>
            </a:r>
            <a:r>
              <a:rPr lang="en-US" sz="1600" b="0" i="0" dirty="0">
                <a:solidFill>
                  <a:srgbClr val="161616"/>
                </a:solidFill>
                <a:effectLst/>
                <a:latin typeface="Arial" panose="020B0604020202020204" pitchFamily="34" charset="0"/>
                <a:cs typeface="Arial" panose="020B0604020202020204" pitchFamily="34" charset="0"/>
              </a:rPr>
              <a:t>.</a:t>
            </a:r>
          </a:p>
          <a:p>
            <a:pPr algn="l" fontAlgn="base">
              <a:buNone/>
            </a:pPr>
            <a:endParaRPr lang="en-US" sz="1600" b="0" i="0" dirty="0">
              <a:solidFill>
                <a:srgbClr val="161616"/>
              </a:solidFill>
              <a:effectLst/>
              <a:latin typeface="Arial" panose="020B0604020202020204" pitchFamily="34" charset="0"/>
              <a:cs typeface="Arial" panose="020B0604020202020204" pitchFamily="34" charset="0"/>
            </a:endParaRPr>
          </a:p>
          <a:p>
            <a:pPr algn="l" fontAlgn="base">
              <a:buNone/>
            </a:pPr>
            <a:r>
              <a:rPr lang="en-US" sz="1600" b="0" i="0" dirty="0">
                <a:solidFill>
                  <a:srgbClr val="161616"/>
                </a:solidFill>
                <a:effectLst/>
                <a:latin typeface="Arial" panose="020B0604020202020204" pitchFamily="34" charset="0"/>
                <a:cs typeface="Arial" panose="020B0604020202020204" pitchFamily="34" charset="0"/>
              </a:rPr>
              <a:t>Unlike traditional </a:t>
            </a:r>
            <a:r>
              <a:rPr lang="en-US" sz="1600" b="0" i="0" u="none" strike="noStrike" dirty="0">
                <a:solidFill>
                  <a:srgbClr val="0F62FE"/>
                </a:solidFill>
                <a:effectLst/>
                <a:latin typeface="Arial" panose="020B0604020202020204" pitchFamily="34" charset="0"/>
                <a:cs typeface="Arial" panose="020B0604020202020204" pitchFamily="34" charset="0"/>
                <a:hlinkClick r:id="rId5"/>
              </a:rPr>
              <a:t>AI models</a:t>
            </a:r>
            <a:r>
              <a:rPr lang="en-US" sz="1600" b="0" i="0" dirty="0">
                <a:solidFill>
                  <a:srgbClr val="161616"/>
                </a:solidFill>
                <a:effectLst/>
                <a:latin typeface="Arial" panose="020B0604020202020204" pitchFamily="34" charset="0"/>
                <a:cs typeface="Arial" panose="020B0604020202020204" pitchFamily="34" charset="0"/>
              </a:rPr>
              <a:t>, which operate within predefined constraints and require human intervention, agentic AI exhibits autonomy, goal-driven behavior and adaptability. The term “agentic” refers to these models’ agency, or, their capacity to act independently and purposefully.</a:t>
            </a:r>
          </a:p>
          <a:p>
            <a:pPr algn="l" fontAlgn="base">
              <a:buNone/>
            </a:pPr>
            <a:endParaRPr lang="en-US" sz="1600" dirty="0">
              <a:solidFill>
                <a:srgbClr val="161616"/>
              </a:solidFill>
              <a:latin typeface="Arial" panose="020B0604020202020204" pitchFamily="34" charset="0"/>
              <a:cs typeface="Arial" panose="020B0604020202020204" pitchFamily="34" charset="0"/>
            </a:endParaRPr>
          </a:p>
          <a:p>
            <a:pPr algn="l" fontAlgn="base">
              <a:buNone/>
            </a:pPr>
            <a:endParaRPr lang="en-US" sz="1600" b="0" i="0" dirty="0">
              <a:solidFill>
                <a:srgbClr val="161616"/>
              </a:solidFill>
              <a:effectLst/>
              <a:latin typeface="Arial" panose="020B0604020202020204" pitchFamily="34" charset="0"/>
              <a:cs typeface="Arial" panose="020B0604020202020204" pitchFamily="34" charset="0"/>
            </a:endParaRPr>
          </a:p>
          <a:p>
            <a:pPr algn="l" fontAlgn="base"/>
            <a:r>
              <a:rPr lang="en-US" sz="1600" b="0" i="0" u="none" strike="noStrike" dirty="0">
                <a:solidFill>
                  <a:srgbClr val="0F62FE"/>
                </a:solidFill>
                <a:effectLst/>
                <a:latin typeface="Arial" panose="020B0604020202020204" pitchFamily="34" charset="0"/>
                <a:cs typeface="Arial" panose="020B0604020202020204" pitchFamily="34" charset="0"/>
                <a:hlinkClick r:id="rId6"/>
              </a:rPr>
              <a:t>Agentic AI</a:t>
            </a:r>
            <a:r>
              <a:rPr lang="en-US" sz="1600" b="0" i="0" dirty="0">
                <a:solidFill>
                  <a:srgbClr val="161616"/>
                </a:solidFill>
                <a:effectLst/>
                <a:latin typeface="Arial" panose="020B0604020202020204" pitchFamily="34" charset="0"/>
                <a:cs typeface="Arial" panose="020B0604020202020204" pitchFamily="34" charset="0"/>
              </a:rPr>
              <a:t> builds on </a:t>
            </a:r>
            <a:r>
              <a:rPr lang="en-US" sz="1600" b="0" i="0" u="none" strike="noStrike" dirty="0">
                <a:solidFill>
                  <a:srgbClr val="0F62FE"/>
                </a:solidFill>
                <a:effectLst/>
                <a:latin typeface="Arial" panose="020B0604020202020204" pitchFamily="34" charset="0"/>
                <a:cs typeface="Arial" panose="020B0604020202020204" pitchFamily="34" charset="0"/>
                <a:hlinkClick r:id="rId7"/>
              </a:rPr>
              <a:t>generative AI</a:t>
            </a:r>
            <a:r>
              <a:rPr lang="en-US" sz="1600" b="0" i="0" dirty="0">
                <a:solidFill>
                  <a:srgbClr val="161616"/>
                </a:solidFill>
                <a:effectLst/>
                <a:latin typeface="Arial" panose="020B0604020202020204" pitchFamily="34" charset="0"/>
                <a:cs typeface="Arial" panose="020B0604020202020204" pitchFamily="34" charset="0"/>
              </a:rPr>
              <a:t> (gen AI) techniques by using </a:t>
            </a:r>
            <a:r>
              <a:rPr lang="en-US" sz="1600" b="0" i="0" u="none" strike="noStrike" dirty="0">
                <a:solidFill>
                  <a:srgbClr val="0F62FE"/>
                </a:solidFill>
                <a:effectLst/>
                <a:latin typeface="Arial" panose="020B0604020202020204" pitchFamily="34" charset="0"/>
                <a:cs typeface="Arial" panose="020B0604020202020204" pitchFamily="34" charset="0"/>
                <a:hlinkClick r:id="rId8"/>
              </a:rPr>
              <a:t>large language models</a:t>
            </a:r>
            <a:r>
              <a:rPr lang="en-US" sz="1600" b="0" i="0" dirty="0">
                <a:solidFill>
                  <a:srgbClr val="161616"/>
                </a:solidFill>
                <a:effectLst/>
                <a:latin typeface="Arial" panose="020B0604020202020204" pitchFamily="34" charset="0"/>
                <a:cs typeface="Arial" panose="020B0604020202020204" pitchFamily="34" charset="0"/>
              </a:rPr>
              <a:t> (LLMs) to function in dynamic environments. While generative models focus on </a:t>
            </a:r>
            <a:r>
              <a:rPr lang="en-US" sz="1600" b="0" i="1" dirty="0">
                <a:solidFill>
                  <a:srgbClr val="161616"/>
                </a:solidFill>
                <a:effectLst/>
                <a:latin typeface="Arial" panose="020B0604020202020204" pitchFamily="34" charset="0"/>
                <a:cs typeface="Arial" panose="020B0604020202020204" pitchFamily="34" charset="0"/>
              </a:rPr>
              <a:t>creating </a:t>
            </a:r>
            <a:r>
              <a:rPr lang="en-US" sz="1600" b="0" i="0" dirty="0">
                <a:solidFill>
                  <a:srgbClr val="161616"/>
                </a:solidFill>
                <a:effectLst/>
                <a:latin typeface="Arial" panose="020B0604020202020204" pitchFamily="34" charset="0"/>
                <a:cs typeface="Arial" panose="020B0604020202020204" pitchFamily="34" charset="0"/>
              </a:rPr>
              <a:t>content based on learned patterns, agentic AI extends this capability by applying generative outputs toward specific goals. A </a:t>
            </a:r>
            <a:r>
              <a:rPr lang="en-US" sz="1600" b="0" i="0" u="none" strike="noStrike" dirty="0">
                <a:solidFill>
                  <a:srgbClr val="0F62FE"/>
                </a:solidFill>
                <a:effectLst/>
                <a:latin typeface="Arial" panose="020B0604020202020204" pitchFamily="34" charset="0"/>
                <a:cs typeface="Arial" panose="020B0604020202020204" pitchFamily="34" charset="0"/>
                <a:hlinkClick r:id="rId9"/>
              </a:rPr>
              <a:t>generative AI</a:t>
            </a:r>
            <a:r>
              <a:rPr lang="en-US" sz="1600" b="0" i="0" dirty="0">
                <a:solidFill>
                  <a:srgbClr val="161616"/>
                </a:solidFill>
                <a:effectLst/>
                <a:latin typeface="Arial" panose="020B0604020202020204" pitchFamily="34" charset="0"/>
                <a:cs typeface="Arial" panose="020B0604020202020204" pitchFamily="34" charset="0"/>
              </a:rPr>
              <a:t> model like OpenAI’s </a:t>
            </a:r>
            <a:r>
              <a:rPr lang="en-US" sz="1600" b="0" i="0" u="none" strike="noStrike" dirty="0">
                <a:solidFill>
                  <a:srgbClr val="0F62FE"/>
                </a:solidFill>
                <a:effectLst/>
                <a:latin typeface="Arial" panose="020B0604020202020204" pitchFamily="34" charset="0"/>
                <a:cs typeface="Arial" panose="020B0604020202020204" pitchFamily="34" charset="0"/>
                <a:hlinkClick r:id="rId10"/>
              </a:rPr>
              <a:t>ChatGPT</a:t>
            </a:r>
            <a:r>
              <a:rPr lang="en-US" sz="1600" b="0" i="0" dirty="0">
                <a:solidFill>
                  <a:srgbClr val="161616"/>
                </a:solidFill>
                <a:effectLst/>
                <a:latin typeface="Arial" panose="020B0604020202020204" pitchFamily="34" charset="0"/>
                <a:cs typeface="Arial" panose="020B0604020202020204" pitchFamily="34" charset="0"/>
              </a:rPr>
              <a:t> might produce text, images or code, but an agentic AI system can use that generated content to complete complex tasks autonomously by calling external tools. Agents can, for example, not only tell you the best time to climb Mt. Everest given your work schedule, it can also book you a flight and a hotel.</a:t>
            </a:r>
          </a:p>
        </p:txBody>
      </p:sp>
    </p:spTree>
    <p:extLst>
      <p:ext uri="{BB962C8B-B14F-4D97-AF65-F5344CB8AC3E}">
        <p14:creationId xmlns:p14="http://schemas.microsoft.com/office/powerpoint/2010/main" val="4181294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capabilities – Task Decompositio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3" name="object 4">
            <a:extLst>
              <a:ext uri="{FF2B5EF4-FFF2-40B4-BE49-F238E27FC236}">
                <a16:creationId xmlns:a16="http://schemas.microsoft.com/office/drawing/2014/main" id="{22E11D4F-4A92-029B-11B9-0867BF7B1A72}"/>
              </a:ext>
            </a:extLst>
          </p:cNvPr>
          <p:cNvPicPr/>
          <p:nvPr/>
        </p:nvPicPr>
        <p:blipFill>
          <a:blip r:embed="rId3" cstate="print"/>
          <a:stretch>
            <a:fillRect/>
          </a:stretch>
        </p:blipFill>
        <p:spPr>
          <a:xfrm>
            <a:off x="2076434" y="1066800"/>
            <a:ext cx="8039131" cy="5111750"/>
          </a:xfrm>
          <a:prstGeom prst="rect">
            <a:avLst/>
          </a:prstGeom>
        </p:spPr>
      </p:pic>
    </p:spTree>
    <p:extLst>
      <p:ext uri="{BB962C8B-B14F-4D97-AF65-F5344CB8AC3E}">
        <p14:creationId xmlns:p14="http://schemas.microsoft.com/office/powerpoint/2010/main" val="36187851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capabilities – Memory Managem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2" name="object 4">
            <a:extLst>
              <a:ext uri="{FF2B5EF4-FFF2-40B4-BE49-F238E27FC236}">
                <a16:creationId xmlns:a16="http://schemas.microsoft.com/office/drawing/2014/main" id="{4D114FCF-B269-63DB-38CD-D2061722F6FE}"/>
              </a:ext>
            </a:extLst>
          </p:cNvPr>
          <p:cNvPicPr/>
          <p:nvPr/>
        </p:nvPicPr>
        <p:blipFill>
          <a:blip r:embed="rId3" cstate="print"/>
          <a:stretch>
            <a:fillRect/>
          </a:stretch>
        </p:blipFill>
        <p:spPr>
          <a:xfrm>
            <a:off x="1981200" y="1066800"/>
            <a:ext cx="7994090" cy="5038725"/>
          </a:xfrm>
          <a:prstGeom prst="rect">
            <a:avLst/>
          </a:prstGeom>
        </p:spPr>
      </p:pic>
    </p:spTree>
    <p:extLst>
      <p:ext uri="{BB962C8B-B14F-4D97-AF65-F5344CB8AC3E}">
        <p14:creationId xmlns:p14="http://schemas.microsoft.com/office/powerpoint/2010/main" val="16349745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capabilities – Reflect &amp; Adap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3" name="object 4">
            <a:extLst>
              <a:ext uri="{FF2B5EF4-FFF2-40B4-BE49-F238E27FC236}">
                <a16:creationId xmlns:a16="http://schemas.microsoft.com/office/drawing/2014/main" id="{711F2C40-2C1D-2EF7-52FC-B3B735130A82}"/>
              </a:ext>
            </a:extLst>
          </p:cNvPr>
          <p:cNvPicPr/>
          <p:nvPr/>
        </p:nvPicPr>
        <p:blipFill>
          <a:blip r:embed="rId3" cstate="print"/>
          <a:stretch>
            <a:fillRect/>
          </a:stretch>
        </p:blipFill>
        <p:spPr>
          <a:xfrm>
            <a:off x="2819400" y="1143000"/>
            <a:ext cx="6191249" cy="4992384"/>
          </a:xfrm>
          <a:prstGeom prst="rect">
            <a:avLst/>
          </a:prstGeom>
        </p:spPr>
      </p:pic>
    </p:spTree>
    <p:extLst>
      <p:ext uri="{BB962C8B-B14F-4D97-AF65-F5344CB8AC3E}">
        <p14:creationId xmlns:p14="http://schemas.microsoft.com/office/powerpoint/2010/main" val="14364042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Use-case: Funds Email Marketing Campaig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pic>
        <p:nvPicPr>
          <p:cNvPr id="2" name="object 3">
            <a:extLst>
              <a:ext uri="{FF2B5EF4-FFF2-40B4-BE49-F238E27FC236}">
                <a16:creationId xmlns:a16="http://schemas.microsoft.com/office/drawing/2014/main" id="{2FA68A16-F83D-9D20-DE61-C70E25366AA1}"/>
              </a:ext>
            </a:extLst>
          </p:cNvPr>
          <p:cNvPicPr/>
          <p:nvPr/>
        </p:nvPicPr>
        <p:blipFill>
          <a:blip r:embed="rId3" cstate="print"/>
          <a:stretch>
            <a:fillRect/>
          </a:stretch>
        </p:blipFill>
        <p:spPr>
          <a:xfrm>
            <a:off x="605457" y="972624"/>
            <a:ext cx="10981085" cy="5428176"/>
          </a:xfrm>
          <a:prstGeom prst="rect">
            <a:avLst/>
          </a:prstGeom>
        </p:spPr>
      </p:pic>
    </p:spTree>
    <p:extLst>
      <p:ext uri="{BB962C8B-B14F-4D97-AF65-F5344CB8AC3E}">
        <p14:creationId xmlns:p14="http://schemas.microsoft.com/office/powerpoint/2010/main" val="269976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2">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1732280" y="2679596"/>
            <a:ext cx="8727440" cy="900184"/>
            <a:chOff x="1732280" y="1453910"/>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3910"/>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556983"/>
              <a:ext cx="817447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a:ea typeface="+mn-ea"/>
                  <a:cs typeface="Arial"/>
                </a:rPr>
                <a:t>Agentic AI Reference Architecture</a:t>
              </a:r>
              <a:endParaRPr kumimoji="0" lang="en-US" sz="36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7177116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Generative AI Lifecycle</a:t>
            </a:r>
          </a:p>
        </p:txBody>
      </p:sp>
      <p:pic>
        <p:nvPicPr>
          <p:cNvPr id="2" name="object 4">
            <a:extLst>
              <a:ext uri="{FF2B5EF4-FFF2-40B4-BE49-F238E27FC236}">
                <a16:creationId xmlns:a16="http://schemas.microsoft.com/office/drawing/2014/main" id="{858787C1-A534-2989-2BF1-C06B3511B9E7}"/>
              </a:ext>
            </a:extLst>
          </p:cNvPr>
          <p:cNvPicPr/>
          <p:nvPr/>
        </p:nvPicPr>
        <p:blipFill>
          <a:blip r:embed="rId2" cstate="print"/>
          <a:stretch>
            <a:fillRect/>
          </a:stretch>
        </p:blipFill>
        <p:spPr>
          <a:xfrm>
            <a:off x="66675" y="1419225"/>
            <a:ext cx="11997485" cy="3971925"/>
          </a:xfrm>
          <a:prstGeom prst="rect">
            <a:avLst/>
          </a:prstGeom>
        </p:spPr>
      </p:pic>
    </p:spTree>
    <p:extLst>
      <p:ext uri="{BB962C8B-B14F-4D97-AF65-F5344CB8AC3E}">
        <p14:creationId xmlns:p14="http://schemas.microsoft.com/office/powerpoint/2010/main" val="3458512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20AA46-4788-45B1-6E42-199EC4FEC88B}"/>
              </a:ext>
            </a:extLst>
          </p:cNvPr>
          <p:cNvPicPr>
            <a:picLocks noChangeAspect="1"/>
          </p:cNvPicPr>
          <p:nvPr/>
        </p:nvPicPr>
        <p:blipFill>
          <a:blip r:embed="rId2"/>
          <a:stretch>
            <a:fillRect/>
          </a:stretch>
        </p:blipFill>
        <p:spPr>
          <a:xfrm>
            <a:off x="0" y="0"/>
            <a:ext cx="12192000" cy="7239000"/>
          </a:xfrm>
          <a:prstGeom prst="rect">
            <a:avLst/>
          </a:prstGeom>
        </p:spPr>
      </p:pic>
    </p:spTree>
    <p:extLst>
      <p:ext uri="{BB962C8B-B14F-4D97-AF65-F5344CB8AC3E}">
        <p14:creationId xmlns:p14="http://schemas.microsoft.com/office/powerpoint/2010/main" val="19422443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Gen AI Architecture Patterns – </a:t>
            </a:r>
            <a:r>
              <a:rPr kumimoji="0" lang="it-IT" sz="2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trieval-Augmented- Generation (RAG)</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grpSp>
        <p:nvGrpSpPr>
          <p:cNvPr id="4" name="Group 3">
            <a:extLst>
              <a:ext uri="{FF2B5EF4-FFF2-40B4-BE49-F238E27FC236}">
                <a16:creationId xmlns:a16="http://schemas.microsoft.com/office/drawing/2014/main" id="{1E638166-77ED-4382-18E5-5E9D8DAC1C2E}"/>
              </a:ext>
            </a:extLst>
          </p:cNvPr>
          <p:cNvGrpSpPr/>
          <p:nvPr/>
        </p:nvGrpSpPr>
        <p:grpSpPr>
          <a:xfrm>
            <a:off x="390525" y="1533525"/>
            <a:ext cx="11658599" cy="4200525"/>
            <a:chOff x="390525" y="1533525"/>
            <a:chExt cx="11658599" cy="4200525"/>
          </a:xfrm>
        </p:grpSpPr>
        <p:sp>
          <p:nvSpPr>
            <p:cNvPr id="5" name="object 4">
              <a:extLst>
                <a:ext uri="{FF2B5EF4-FFF2-40B4-BE49-F238E27FC236}">
                  <a16:creationId xmlns:a16="http://schemas.microsoft.com/office/drawing/2014/main" id="{D97A5455-80AB-4927-799E-684D8F10061E}"/>
                </a:ext>
              </a:extLst>
            </p:cNvPr>
            <p:cNvSpPr/>
            <p:nvPr/>
          </p:nvSpPr>
          <p:spPr>
            <a:xfrm>
              <a:off x="1114425" y="1533525"/>
              <a:ext cx="9715500" cy="819150"/>
            </a:xfrm>
            <a:custGeom>
              <a:avLst/>
              <a:gdLst/>
              <a:ahLst/>
              <a:cxnLst/>
              <a:rect l="l" t="t" r="r" b="b"/>
              <a:pathLst>
                <a:path w="9715500" h="819150">
                  <a:moveTo>
                    <a:pt x="9715500" y="0"/>
                  </a:moveTo>
                  <a:lnTo>
                    <a:pt x="0" y="0"/>
                  </a:lnTo>
                  <a:lnTo>
                    <a:pt x="0" y="819150"/>
                  </a:lnTo>
                  <a:lnTo>
                    <a:pt x="9060942" y="811657"/>
                  </a:lnTo>
                  <a:lnTo>
                    <a:pt x="9715500" y="0"/>
                  </a:lnTo>
                  <a:close/>
                </a:path>
              </a:pathLst>
            </a:custGeom>
            <a:solidFill>
              <a:srgbClr val="002384"/>
            </a:solidFill>
          </p:spPr>
          <p:txBody>
            <a:bodyPr wrap="square" lIns="0" tIns="0" rIns="0" bIns="0" rtlCol="0"/>
            <a:lstStyle/>
            <a:p>
              <a:endParaRPr/>
            </a:p>
          </p:txBody>
        </p:sp>
        <p:sp>
          <p:nvSpPr>
            <p:cNvPr id="6" name="object 5">
              <a:extLst>
                <a:ext uri="{FF2B5EF4-FFF2-40B4-BE49-F238E27FC236}">
                  <a16:creationId xmlns:a16="http://schemas.microsoft.com/office/drawing/2014/main" id="{E37B5330-A3E9-467D-6D2E-A6E96DE8914E}"/>
                </a:ext>
              </a:extLst>
            </p:cNvPr>
            <p:cNvSpPr txBox="1"/>
            <p:nvPr/>
          </p:nvSpPr>
          <p:spPr>
            <a:xfrm>
              <a:off x="1215389" y="1588706"/>
              <a:ext cx="9083675" cy="577215"/>
            </a:xfrm>
            <a:prstGeom prst="rect">
              <a:avLst/>
            </a:prstGeom>
          </p:spPr>
          <p:txBody>
            <a:bodyPr vert="horz" wrap="square" lIns="0" tIns="10160" rIns="0" bIns="0" rtlCol="0">
              <a:spAutoFit/>
            </a:bodyPr>
            <a:lstStyle/>
            <a:p>
              <a:pPr marL="12700" marR="5080">
                <a:lnSpc>
                  <a:spcPct val="100899"/>
                </a:lnSpc>
                <a:spcBef>
                  <a:spcPts val="80"/>
                </a:spcBef>
              </a:pPr>
              <a:r>
                <a:rPr sz="1800" spc="-10" dirty="0">
                  <a:solidFill>
                    <a:srgbClr val="FFFFFF"/>
                  </a:solidFill>
                  <a:latin typeface="Calibri"/>
                  <a:cs typeface="Calibri"/>
                </a:rPr>
                <a:t>Fine-</a:t>
              </a:r>
              <a:r>
                <a:rPr sz="1800" dirty="0">
                  <a:solidFill>
                    <a:srgbClr val="FFFFFF"/>
                  </a:solidFill>
                  <a:latin typeface="Calibri"/>
                  <a:cs typeface="Calibri"/>
                </a:rPr>
                <a:t>tuning</a:t>
              </a:r>
              <a:r>
                <a:rPr sz="1800" spc="-55" dirty="0">
                  <a:solidFill>
                    <a:srgbClr val="FFFFFF"/>
                  </a:solidFill>
                  <a:latin typeface="Calibri"/>
                  <a:cs typeface="Calibri"/>
                </a:rPr>
                <a:t> </a:t>
              </a:r>
              <a:r>
                <a:rPr sz="1800" dirty="0">
                  <a:solidFill>
                    <a:srgbClr val="FFFFFF"/>
                  </a:solidFill>
                  <a:latin typeface="Calibri"/>
                  <a:cs typeface="Calibri"/>
                </a:rPr>
                <a:t>is</a:t>
              </a:r>
              <a:r>
                <a:rPr sz="1800" spc="10" dirty="0">
                  <a:solidFill>
                    <a:srgbClr val="FFFFFF"/>
                  </a:solidFill>
                  <a:latin typeface="Calibri"/>
                  <a:cs typeface="Calibri"/>
                </a:rPr>
                <a:t> </a:t>
              </a:r>
              <a:r>
                <a:rPr sz="1800" dirty="0">
                  <a:solidFill>
                    <a:srgbClr val="FFFFFF"/>
                  </a:solidFill>
                  <a:latin typeface="Calibri"/>
                  <a:cs typeface="Calibri"/>
                </a:rPr>
                <a:t>a </a:t>
              </a:r>
              <a:r>
                <a:rPr sz="1800" spc="-10" dirty="0">
                  <a:solidFill>
                    <a:srgbClr val="FFFFFF"/>
                  </a:solidFill>
                  <a:latin typeface="Calibri"/>
                  <a:cs typeface="Calibri"/>
                </a:rPr>
                <a:t>computationally</a:t>
              </a:r>
              <a:r>
                <a:rPr sz="1800" spc="-25" dirty="0">
                  <a:solidFill>
                    <a:srgbClr val="FFFFFF"/>
                  </a:solidFill>
                  <a:latin typeface="Calibri"/>
                  <a:cs typeface="Calibri"/>
                </a:rPr>
                <a:t> </a:t>
              </a:r>
              <a:r>
                <a:rPr sz="1800" dirty="0">
                  <a:solidFill>
                    <a:srgbClr val="FFFFFF"/>
                  </a:solidFill>
                  <a:latin typeface="Calibri"/>
                  <a:cs typeface="Calibri"/>
                </a:rPr>
                <a:t>intensive</a:t>
              </a:r>
              <a:r>
                <a:rPr sz="1800" spc="-30" dirty="0">
                  <a:solidFill>
                    <a:srgbClr val="FFFFFF"/>
                  </a:solidFill>
                  <a:latin typeface="Calibri"/>
                  <a:cs typeface="Calibri"/>
                </a:rPr>
                <a:t> </a:t>
              </a:r>
              <a:r>
                <a:rPr sz="1800" dirty="0">
                  <a:solidFill>
                    <a:srgbClr val="FFFFFF"/>
                  </a:solidFill>
                  <a:latin typeface="Calibri"/>
                  <a:cs typeface="Calibri"/>
                </a:rPr>
                <a:t>process.</a:t>
              </a:r>
              <a:r>
                <a:rPr sz="1800" spc="35" dirty="0">
                  <a:solidFill>
                    <a:srgbClr val="FFFFFF"/>
                  </a:solidFill>
                  <a:latin typeface="Calibri"/>
                  <a:cs typeface="Calibri"/>
                </a:rPr>
                <a:t> </a:t>
              </a:r>
              <a:r>
                <a:rPr sz="1800" b="1" dirty="0">
                  <a:solidFill>
                    <a:srgbClr val="FFD966"/>
                  </a:solidFill>
                  <a:latin typeface="Calibri"/>
                  <a:cs typeface="Calibri"/>
                </a:rPr>
                <a:t>RAG</a:t>
              </a:r>
              <a:r>
                <a:rPr sz="1800" b="1" spc="5" dirty="0">
                  <a:solidFill>
                    <a:srgbClr val="FFD966"/>
                  </a:solidFill>
                  <a:latin typeface="Calibri"/>
                  <a:cs typeface="Calibri"/>
                </a:rPr>
                <a:t> </a:t>
              </a:r>
              <a:r>
                <a:rPr sz="1800" dirty="0">
                  <a:solidFill>
                    <a:srgbClr val="FFFFFF"/>
                  </a:solidFill>
                  <a:latin typeface="Calibri"/>
                  <a:cs typeface="Calibri"/>
                </a:rPr>
                <a:t>provides</a:t>
              </a:r>
              <a:r>
                <a:rPr sz="1800" spc="20" dirty="0">
                  <a:solidFill>
                    <a:srgbClr val="FFFFFF"/>
                  </a:solidFill>
                  <a:latin typeface="Calibri"/>
                  <a:cs typeface="Calibri"/>
                </a:rPr>
                <a:t> </a:t>
              </a:r>
              <a:r>
                <a:rPr sz="1800" dirty="0">
                  <a:solidFill>
                    <a:srgbClr val="FFFFFF"/>
                  </a:solidFill>
                  <a:latin typeface="Calibri"/>
                  <a:cs typeface="Calibri"/>
                </a:rPr>
                <a:t>a</a:t>
              </a:r>
              <a:r>
                <a:rPr sz="1800" spc="5" dirty="0">
                  <a:solidFill>
                    <a:srgbClr val="FFFFFF"/>
                  </a:solidFill>
                  <a:latin typeface="Calibri"/>
                  <a:cs typeface="Calibri"/>
                </a:rPr>
                <a:t> </a:t>
              </a:r>
              <a:r>
                <a:rPr sz="1800" dirty="0">
                  <a:solidFill>
                    <a:srgbClr val="FFFFFF"/>
                  </a:solidFill>
                  <a:latin typeface="Calibri"/>
                  <a:cs typeface="Calibri"/>
                </a:rPr>
                <a:t>viable</a:t>
              </a:r>
              <a:r>
                <a:rPr sz="1800" spc="-25" dirty="0">
                  <a:solidFill>
                    <a:srgbClr val="FFFFFF"/>
                  </a:solidFill>
                  <a:latin typeface="Calibri"/>
                  <a:cs typeface="Calibri"/>
                </a:rPr>
                <a:t> </a:t>
              </a:r>
              <a:r>
                <a:rPr sz="1800" dirty="0">
                  <a:solidFill>
                    <a:srgbClr val="FFFFFF"/>
                  </a:solidFill>
                  <a:latin typeface="Calibri"/>
                  <a:cs typeface="Calibri"/>
                </a:rPr>
                <a:t>alternative</a:t>
              </a:r>
              <a:r>
                <a:rPr sz="1800" spc="-25" dirty="0">
                  <a:solidFill>
                    <a:srgbClr val="FFFFFF"/>
                  </a:solidFill>
                  <a:latin typeface="Calibri"/>
                  <a:cs typeface="Calibri"/>
                </a:rPr>
                <a:t> </a:t>
              </a:r>
              <a:r>
                <a:rPr sz="1800" dirty="0">
                  <a:solidFill>
                    <a:srgbClr val="FFFFFF"/>
                  </a:solidFill>
                  <a:latin typeface="Calibri"/>
                  <a:cs typeface="Calibri"/>
                </a:rPr>
                <a:t>by</a:t>
              </a:r>
              <a:r>
                <a:rPr sz="1800" spc="-25" dirty="0">
                  <a:solidFill>
                    <a:srgbClr val="FFFFFF"/>
                  </a:solidFill>
                  <a:latin typeface="Calibri"/>
                  <a:cs typeface="Calibri"/>
                </a:rPr>
                <a:t> </a:t>
              </a:r>
              <a:r>
                <a:rPr sz="1800" spc="-10" dirty="0">
                  <a:solidFill>
                    <a:srgbClr val="FFFFFF"/>
                  </a:solidFill>
                  <a:latin typeface="Calibri"/>
                  <a:cs typeface="Calibri"/>
                </a:rPr>
                <a:t>providing </a:t>
              </a:r>
              <a:r>
                <a:rPr sz="1800" dirty="0">
                  <a:solidFill>
                    <a:srgbClr val="FFFFFF"/>
                  </a:solidFill>
                  <a:latin typeface="Calibri"/>
                  <a:cs typeface="Calibri"/>
                </a:rPr>
                <a:t>additional</a:t>
              </a:r>
              <a:r>
                <a:rPr sz="1800" spc="-20" dirty="0">
                  <a:solidFill>
                    <a:srgbClr val="FFFFFF"/>
                  </a:solidFill>
                  <a:latin typeface="Calibri"/>
                  <a:cs typeface="Calibri"/>
                </a:rPr>
                <a:t> </a:t>
              </a:r>
              <a:r>
                <a:rPr sz="1800" dirty="0">
                  <a:solidFill>
                    <a:srgbClr val="FFFFFF"/>
                  </a:solidFill>
                  <a:latin typeface="Calibri"/>
                  <a:cs typeface="Calibri"/>
                </a:rPr>
                <a:t>context</a:t>
              </a:r>
              <a:r>
                <a:rPr sz="1800" spc="-55" dirty="0">
                  <a:solidFill>
                    <a:srgbClr val="FFFFFF"/>
                  </a:solidFill>
                  <a:latin typeface="Calibri"/>
                  <a:cs typeface="Calibri"/>
                </a:rPr>
                <a:t> </a:t>
              </a:r>
              <a:r>
                <a:rPr sz="1800" dirty="0">
                  <a:solidFill>
                    <a:srgbClr val="FFFFFF"/>
                  </a:solidFill>
                  <a:latin typeface="Calibri"/>
                  <a:cs typeface="Calibri"/>
                </a:rPr>
                <a:t>with</a:t>
              </a:r>
              <a:r>
                <a:rPr sz="1800" spc="-25" dirty="0">
                  <a:solidFill>
                    <a:srgbClr val="FFFFFF"/>
                  </a:solidFill>
                  <a:latin typeface="Calibri"/>
                  <a:cs typeface="Calibri"/>
                </a:rPr>
                <a:t> </a:t>
              </a:r>
              <a:r>
                <a:rPr sz="1800" dirty="0">
                  <a:solidFill>
                    <a:srgbClr val="FFFFFF"/>
                  </a:solidFill>
                  <a:latin typeface="Calibri"/>
                  <a:cs typeface="Calibri"/>
                </a:rPr>
                <a:t>the</a:t>
              </a:r>
              <a:r>
                <a:rPr sz="1800" spc="-45" dirty="0">
                  <a:solidFill>
                    <a:srgbClr val="FFFFFF"/>
                  </a:solidFill>
                  <a:latin typeface="Calibri"/>
                  <a:cs typeface="Calibri"/>
                </a:rPr>
                <a:t> </a:t>
              </a:r>
              <a:r>
                <a:rPr sz="1800" dirty="0">
                  <a:solidFill>
                    <a:srgbClr val="FFFFFF"/>
                  </a:solidFill>
                  <a:latin typeface="Calibri"/>
                  <a:cs typeface="Calibri"/>
                </a:rPr>
                <a:t>prompts</a:t>
              </a:r>
              <a:r>
                <a:rPr sz="1800" spc="-10" dirty="0">
                  <a:solidFill>
                    <a:srgbClr val="FFFFFF"/>
                  </a:solidFill>
                  <a:latin typeface="Calibri"/>
                  <a:cs typeface="Calibri"/>
                </a:rPr>
                <a:t> </a:t>
              </a:r>
              <a:r>
                <a:rPr sz="1800" dirty="0">
                  <a:solidFill>
                    <a:srgbClr val="FFFFFF"/>
                  </a:solidFill>
                  <a:latin typeface="Calibri"/>
                  <a:cs typeface="Calibri"/>
                </a:rPr>
                <a:t>—</a:t>
              </a:r>
              <a:r>
                <a:rPr sz="1800" spc="-20" dirty="0">
                  <a:solidFill>
                    <a:srgbClr val="FFFFFF"/>
                  </a:solidFill>
                  <a:latin typeface="Calibri"/>
                  <a:cs typeface="Calibri"/>
                </a:rPr>
                <a:t> </a:t>
              </a:r>
              <a:r>
                <a:rPr sz="1800" dirty="0">
                  <a:solidFill>
                    <a:srgbClr val="FFFFFF"/>
                  </a:solidFill>
                  <a:latin typeface="Calibri"/>
                  <a:cs typeface="Calibri"/>
                </a:rPr>
                <a:t>grounding</a:t>
              </a:r>
              <a:r>
                <a:rPr sz="1800" spc="-70" dirty="0">
                  <a:solidFill>
                    <a:srgbClr val="FFFFFF"/>
                  </a:solidFill>
                  <a:latin typeface="Calibri"/>
                  <a:cs typeface="Calibri"/>
                </a:rPr>
                <a:t> </a:t>
              </a:r>
              <a:r>
                <a:rPr sz="1800" dirty="0">
                  <a:solidFill>
                    <a:srgbClr val="FFFFFF"/>
                  </a:solidFill>
                  <a:latin typeface="Calibri"/>
                  <a:cs typeface="Calibri"/>
                </a:rPr>
                <a:t>the</a:t>
              </a:r>
              <a:r>
                <a:rPr sz="1800" spc="25" dirty="0">
                  <a:solidFill>
                    <a:srgbClr val="FFFFFF"/>
                  </a:solidFill>
                  <a:latin typeface="Calibri"/>
                  <a:cs typeface="Calibri"/>
                </a:rPr>
                <a:t> </a:t>
              </a:r>
              <a:r>
                <a:rPr sz="1800" dirty="0">
                  <a:solidFill>
                    <a:srgbClr val="FFFFFF"/>
                  </a:solidFill>
                  <a:latin typeface="Calibri"/>
                  <a:cs typeface="Calibri"/>
                </a:rPr>
                <a:t>retrieval</a:t>
              </a:r>
              <a:r>
                <a:rPr sz="1800" spc="-20" dirty="0">
                  <a:solidFill>
                    <a:srgbClr val="FFFFFF"/>
                  </a:solidFill>
                  <a:latin typeface="Calibri"/>
                  <a:cs typeface="Calibri"/>
                </a:rPr>
                <a:t> </a:t>
              </a:r>
              <a:r>
                <a:rPr sz="1800" dirty="0">
                  <a:solidFill>
                    <a:srgbClr val="FFFFFF"/>
                  </a:solidFill>
                  <a:latin typeface="Calibri"/>
                  <a:cs typeface="Calibri"/>
                </a:rPr>
                <a:t>/ responses</a:t>
              </a:r>
              <a:r>
                <a:rPr sz="1800" spc="-5" dirty="0">
                  <a:solidFill>
                    <a:srgbClr val="FFFFFF"/>
                  </a:solidFill>
                  <a:latin typeface="Calibri"/>
                  <a:cs typeface="Calibri"/>
                </a:rPr>
                <a:t> </a:t>
              </a:r>
              <a:r>
                <a:rPr sz="1800" dirty="0">
                  <a:solidFill>
                    <a:srgbClr val="FFFFFF"/>
                  </a:solidFill>
                  <a:latin typeface="Calibri"/>
                  <a:cs typeface="Calibri"/>
                </a:rPr>
                <a:t>to</a:t>
              </a:r>
              <a:r>
                <a:rPr sz="1800" spc="-35" dirty="0">
                  <a:solidFill>
                    <a:srgbClr val="FFFFFF"/>
                  </a:solidFill>
                  <a:latin typeface="Calibri"/>
                  <a:cs typeface="Calibri"/>
                </a:rPr>
                <a:t> </a:t>
              </a:r>
              <a:r>
                <a:rPr sz="1800" dirty="0">
                  <a:solidFill>
                    <a:srgbClr val="FFFFFF"/>
                  </a:solidFill>
                  <a:latin typeface="Calibri"/>
                  <a:cs typeface="Calibri"/>
                </a:rPr>
                <a:t>the</a:t>
              </a:r>
              <a:r>
                <a:rPr sz="1800" spc="-45" dirty="0">
                  <a:solidFill>
                    <a:srgbClr val="FFFFFF"/>
                  </a:solidFill>
                  <a:latin typeface="Calibri"/>
                  <a:cs typeface="Calibri"/>
                </a:rPr>
                <a:t> </a:t>
              </a:r>
              <a:r>
                <a:rPr sz="1800" dirty="0">
                  <a:solidFill>
                    <a:srgbClr val="FFFFFF"/>
                  </a:solidFill>
                  <a:latin typeface="Calibri"/>
                  <a:cs typeface="Calibri"/>
                </a:rPr>
                <a:t>given</a:t>
              </a:r>
              <a:r>
                <a:rPr sz="1800" spc="-20" dirty="0">
                  <a:solidFill>
                    <a:srgbClr val="FFFFFF"/>
                  </a:solidFill>
                  <a:latin typeface="Calibri"/>
                  <a:cs typeface="Calibri"/>
                </a:rPr>
                <a:t> </a:t>
              </a:r>
              <a:r>
                <a:rPr sz="1800" spc="-10" dirty="0">
                  <a:solidFill>
                    <a:srgbClr val="FFFFFF"/>
                  </a:solidFill>
                  <a:latin typeface="Calibri"/>
                  <a:cs typeface="Calibri"/>
                </a:rPr>
                <a:t>context.</a:t>
              </a:r>
              <a:endParaRPr sz="1800">
                <a:latin typeface="Calibri"/>
                <a:cs typeface="Calibri"/>
              </a:endParaRPr>
            </a:p>
          </p:txBody>
        </p:sp>
        <p:pic>
          <p:nvPicPr>
            <p:cNvPr id="7" name="object 6">
              <a:extLst>
                <a:ext uri="{FF2B5EF4-FFF2-40B4-BE49-F238E27FC236}">
                  <a16:creationId xmlns:a16="http://schemas.microsoft.com/office/drawing/2014/main" id="{81B4892F-3809-F829-EC6B-E4B800B351F6}"/>
                </a:ext>
              </a:extLst>
            </p:cNvPr>
            <p:cNvPicPr/>
            <p:nvPr/>
          </p:nvPicPr>
          <p:blipFill>
            <a:blip r:embed="rId2" cstate="print"/>
            <a:stretch>
              <a:fillRect/>
            </a:stretch>
          </p:blipFill>
          <p:spPr>
            <a:xfrm>
              <a:off x="5691094" y="2600325"/>
              <a:ext cx="6358030" cy="3133725"/>
            </a:xfrm>
            <a:prstGeom prst="rect">
              <a:avLst/>
            </a:prstGeom>
          </p:spPr>
        </p:pic>
        <p:sp>
          <p:nvSpPr>
            <p:cNvPr id="8" name="object 7">
              <a:extLst>
                <a:ext uri="{FF2B5EF4-FFF2-40B4-BE49-F238E27FC236}">
                  <a16:creationId xmlns:a16="http://schemas.microsoft.com/office/drawing/2014/main" id="{303FA99D-CA35-6326-D09A-1F9FBA17847D}"/>
                </a:ext>
              </a:extLst>
            </p:cNvPr>
            <p:cNvSpPr/>
            <p:nvPr/>
          </p:nvSpPr>
          <p:spPr>
            <a:xfrm>
              <a:off x="390525" y="2705100"/>
              <a:ext cx="5057775" cy="2838450"/>
            </a:xfrm>
            <a:custGeom>
              <a:avLst/>
              <a:gdLst/>
              <a:ahLst/>
              <a:cxnLst/>
              <a:rect l="l" t="t" r="r" b="b"/>
              <a:pathLst>
                <a:path w="5057775" h="2838450">
                  <a:moveTo>
                    <a:pt x="5057775" y="0"/>
                  </a:moveTo>
                  <a:lnTo>
                    <a:pt x="0" y="0"/>
                  </a:lnTo>
                  <a:lnTo>
                    <a:pt x="0" y="2838450"/>
                  </a:lnTo>
                  <a:lnTo>
                    <a:pt x="4717034" y="2812541"/>
                  </a:lnTo>
                  <a:lnTo>
                    <a:pt x="5057775" y="0"/>
                  </a:lnTo>
                  <a:close/>
                </a:path>
              </a:pathLst>
            </a:custGeom>
            <a:solidFill>
              <a:srgbClr val="002384"/>
            </a:solidFill>
          </p:spPr>
          <p:txBody>
            <a:bodyPr wrap="square" lIns="0" tIns="0" rIns="0" bIns="0" rtlCol="0"/>
            <a:lstStyle/>
            <a:p>
              <a:endParaRPr/>
            </a:p>
          </p:txBody>
        </p:sp>
        <p:sp>
          <p:nvSpPr>
            <p:cNvPr id="9" name="object 8">
              <a:extLst>
                <a:ext uri="{FF2B5EF4-FFF2-40B4-BE49-F238E27FC236}">
                  <a16:creationId xmlns:a16="http://schemas.microsoft.com/office/drawing/2014/main" id="{CF1E0476-3A50-C5BE-CFFD-2BBFB30E2BFA}"/>
                </a:ext>
              </a:extLst>
            </p:cNvPr>
            <p:cNvSpPr txBox="1"/>
            <p:nvPr/>
          </p:nvSpPr>
          <p:spPr>
            <a:xfrm>
              <a:off x="488315" y="2770822"/>
              <a:ext cx="4609465" cy="2708275"/>
            </a:xfrm>
            <a:prstGeom prst="rect">
              <a:avLst/>
            </a:prstGeom>
          </p:spPr>
          <p:txBody>
            <a:bodyPr vert="horz" wrap="square" lIns="0" tIns="15875" rIns="0" bIns="0" rtlCol="0">
              <a:spAutoFit/>
            </a:bodyPr>
            <a:lstStyle/>
            <a:p>
              <a:pPr marL="12700">
                <a:lnSpc>
                  <a:spcPct val="100000"/>
                </a:lnSpc>
                <a:spcBef>
                  <a:spcPts val="125"/>
                </a:spcBef>
              </a:pPr>
              <a:r>
                <a:rPr sz="1550" dirty="0">
                  <a:solidFill>
                    <a:srgbClr val="FFFFFF"/>
                  </a:solidFill>
                  <a:latin typeface="Calibri"/>
                  <a:cs typeface="Calibri"/>
                </a:rPr>
                <a:t>Given</a:t>
              </a:r>
              <a:r>
                <a:rPr sz="1550" spc="105" dirty="0">
                  <a:solidFill>
                    <a:srgbClr val="FFFFFF"/>
                  </a:solidFill>
                  <a:latin typeface="Calibri"/>
                  <a:cs typeface="Calibri"/>
                </a:rPr>
                <a:t> </a:t>
              </a:r>
              <a:r>
                <a:rPr sz="1550" dirty="0">
                  <a:solidFill>
                    <a:srgbClr val="FFFFFF"/>
                  </a:solidFill>
                  <a:latin typeface="Calibri"/>
                  <a:cs typeface="Calibri"/>
                </a:rPr>
                <a:t>a</a:t>
              </a:r>
              <a:r>
                <a:rPr sz="1550" spc="110" dirty="0">
                  <a:solidFill>
                    <a:srgbClr val="FFFFFF"/>
                  </a:solidFill>
                  <a:latin typeface="Calibri"/>
                  <a:cs typeface="Calibri"/>
                </a:rPr>
                <a:t> </a:t>
              </a:r>
              <a:r>
                <a:rPr sz="1550" dirty="0">
                  <a:solidFill>
                    <a:srgbClr val="FFFFFF"/>
                  </a:solidFill>
                  <a:latin typeface="Calibri"/>
                  <a:cs typeface="Calibri"/>
                </a:rPr>
                <a:t>user</a:t>
              </a:r>
              <a:r>
                <a:rPr sz="1550" spc="80" dirty="0">
                  <a:solidFill>
                    <a:srgbClr val="FFFFFF"/>
                  </a:solidFill>
                  <a:latin typeface="Calibri"/>
                  <a:cs typeface="Calibri"/>
                </a:rPr>
                <a:t> </a:t>
              </a:r>
              <a:r>
                <a:rPr sz="1550" dirty="0">
                  <a:solidFill>
                    <a:srgbClr val="FFFFFF"/>
                  </a:solidFill>
                  <a:latin typeface="Calibri"/>
                  <a:cs typeface="Calibri"/>
                </a:rPr>
                <a:t>query,</a:t>
              </a:r>
              <a:r>
                <a:rPr sz="1550" spc="185" dirty="0">
                  <a:solidFill>
                    <a:srgbClr val="FFFFFF"/>
                  </a:solidFill>
                  <a:latin typeface="Calibri"/>
                  <a:cs typeface="Calibri"/>
                </a:rPr>
                <a:t> </a:t>
              </a:r>
              <a:r>
                <a:rPr sz="1550" dirty="0">
                  <a:solidFill>
                    <a:srgbClr val="FFFFFF"/>
                  </a:solidFill>
                  <a:latin typeface="Calibri"/>
                  <a:cs typeface="Calibri"/>
                </a:rPr>
                <a:t>a</a:t>
              </a:r>
              <a:r>
                <a:rPr sz="1550" spc="105" dirty="0">
                  <a:solidFill>
                    <a:srgbClr val="FFFFFF"/>
                  </a:solidFill>
                  <a:latin typeface="Calibri"/>
                  <a:cs typeface="Calibri"/>
                </a:rPr>
                <a:t> </a:t>
              </a:r>
              <a:r>
                <a:rPr sz="1550" dirty="0">
                  <a:solidFill>
                    <a:srgbClr val="FFFFFF"/>
                  </a:solidFill>
                  <a:latin typeface="Calibri"/>
                  <a:cs typeface="Calibri"/>
                </a:rPr>
                <a:t>RAG</a:t>
              </a:r>
              <a:r>
                <a:rPr sz="1550" spc="90" dirty="0">
                  <a:solidFill>
                    <a:srgbClr val="FFFFFF"/>
                  </a:solidFill>
                  <a:latin typeface="Calibri"/>
                  <a:cs typeface="Calibri"/>
                </a:rPr>
                <a:t> </a:t>
              </a:r>
              <a:r>
                <a:rPr sz="1550" dirty="0">
                  <a:solidFill>
                    <a:srgbClr val="FFFFFF"/>
                  </a:solidFill>
                  <a:latin typeface="Calibri"/>
                  <a:cs typeface="Calibri"/>
                </a:rPr>
                <a:t>pipeline</a:t>
              </a:r>
              <a:r>
                <a:rPr sz="1550" spc="70" dirty="0">
                  <a:solidFill>
                    <a:srgbClr val="FFFFFF"/>
                  </a:solidFill>
                  <a:latin typeface="Calibri"/>
                  <a:cs typeface="Calibri"/>
                </a:rPr>
                <a:t> </a:t>
              </a:r>
              <a:r>
                <a:rPr sz="1550" dirty="0">
                  <a:solidFill>
                    <a:srgbClr val="FFFFFF"/>
                  </a:solidFill>
                  <a:latin typeface="Calibri"/>
                  <a:cs typeface="Calibri"/>
                </a:rPr>
                <a:t>literally</a:t>
              </a:r>
              <a:r>
                <a:rPr sz="1550" spc="65" dirty="0">
                  <a:solidFill>
                    <a:srgbClr val="FFFFFF"/>
                  </a:solidFill>
                  <a:latin typeface="Calibri"/>
                  <a:cs typeface="Calibri"/>
                </a:rPr>
                <a:t> </a:t>
              </a:r>
              <a:r>
                <a:rPr sz="1550" dirty="0">
                  <a:solidFill>
                    <a:srgbClr val="FFFFFF"/>
                  </a:solidFill>
                  <a:latin typeface="Calibri"/>
                  <a:cs typeface="Calibri"/>
                </a:rPr>
                <a:t>consists</a:t>
              </a:r>
              <a:r>
                <a:rPr sz="1550" spc="95" dirty="0">
                  <a:solidFill>
                    <a:srgbClr val="FFFFFF"/>
                  </a:solidFill>
                  <a:latin typeface="Calibri"/>
                  <a:cs typeface="Calibri"/>
                </a:rPr>
                <a:t> </a:t>
              </a:r>
              <a:r>
                <a:rPr sz="1550" spc="-25" dirty="0">
                  <a:solidFill>
                    <a:srgbClr val="FFFFFF"/>
                  </a:solidFill>
                  <a:latin typeface="Calibri"/>
                  <a:cs typeface="Calibri"/>
                </a:rPr>
                <a:t>of</a:t>
              </a:r>
              <a:endParaRPr sz="1550">
                <a:latin typeface="Calibri"/>
                <a:cs typeface="Calibri"/>
              </a:endParaRPr>
            </a:p>
            <a:p>
              <a:pPr marL="12700">
                <a:lnSpc>
                  <a:spcPct val="100000"/>
                </a:lnSpc>
                <a:spcBef>
                  <a:spcPts val="95"/>
                </a:spcBef>
              </a:pPr>
              <a:r>
                <a:rPr sz="1550" dirty="0">
                  <a:solidFill>
                    <a:srgbClr val="FFFFFF"/>
                  </a:solidFill>
                  <a:latin typeface="Calibri"/>
                  <a:cs typeface="Calibri"/>
                </a:rPr>
                <a:t>the</a:t>
              </a:r>
              <a:r>
                <a:rPr sz="1550" spc="85" dirty="0">
                  <a:solidFill>
                    <a:srgbClr val="FFFFFF"/>
                  </a:solidFill>
                  <a:latin typeface="Calibri"/>
                  <a:cs typeface="Calibri"/>
                </a:rPr>
                <a:t> </a:t>
              </a:r>
              <a:r>
                <a:rPr sz="1550" dirty="0">
                  <a:solidFill>
                    <a:srgbClr val="FFFFFF"/>
                  </a:solidFill>
                  <a:latin typeface="Calibri"/>
                  <a:cs typeface="Calibri"/>
                </a:rPr>
                <a:t>3</a:t>
              </a:r>
              <a:r>
                <a:rPr sz="1550" spc="80" dirty="0">
                  <a:solidFill>
                    <a:srgbClr val="FFFFFF"/>
                  </a:solidFill>
                  <a:latin typeface="Calibri"/>
                  <a:cs typeface="Calibri"/>
                </a:rPr>
                <a:t> </a:t>
              </a:r>
              <a:r>
                <a:rPr sz="1550" dirty="0">
                  <a:solidFill>
                    <a:srgbClr val="FFFFFF"/>
                  </a:solidFill>
                  <a:latin typeface="Calibri"/>
                  <a:cs typeface="Calibri"/>
                </a:rPr>
                <a:t>phases</a:t>
              </a:r>
              <a:r>
                <a:rPr sz="1550" spc="30" dirty="0">
                  <a:solidFill>
                    <a:srgbClr val="FFFFFF"/>
                  </a:solidFill>
                  <a:latin typeface="Calibri"/>
                  <a:cs typeface="Calibri"/>
                </a:rPr>
                <a:t> </a:t>
              </a:r>
              <a:r>
                <a:rPr sz="1550" spc="-10" dirty="0">
                  <a:solidFill>
                    <a:srgbClr val="FFFFFF"/>
                  </a:solidFill>
                  <a:latin typeface="Calibri"/>
                  <a:cs typeface="Calibri"/>
                </a:rPr>
                <a:t>below:</a:t>
              </a:r>
              <a:endParaRPr sz="1550">
                <a:latin typeface="Calibri"/>
                <a:cs typeface="Calibri"/>
              </a:endParaRPr>
            </a:p>
            <a:p>
              <a:pPr marL="120014" indent="-107314">
                <a:lnSpc>
                  <a:spcPct val="100000"/>
                </a:lnSpc>
                <a:spcBef>
                  <a:spcPts val="20"/>
                </a:spcBef>
                <a:buChar char="-"/>
                <a:tabLst>
                  <a:tab pos="120014" algn="l"/>
                </a:tabLst>
              </a:pPr>
              <a:r>
                <a:rPr sz="1550" b="1" dirty="0">
                  <a:solidFill>
                    <a:srgbClr val="FFD966"/>
                  </a:solidFill>
                  <a:latin typeface="Calibri"/>
                  <a:cs typeface="Calibri"/>
                </a:rPr>
                <a:t>Retrieve</a:t>
              </a:r>
              <a:r>
                <a:rPr sz="1550" dirty="0">
                  <a:solidFill>
                    <a:srgbClr val="FFFFFF"/>
                  </a:solidFill>
                  <a:latin typeface="Calibri"/>
                  <a:cs typeface="Calibri"/>
                </a:rPr>
                <a:t>:</a:t>
              </a:r>
              <a:r>
                <a:rPr sz="1550" spc="165" dirty="0">
                  <a:solidFill>
                    <a:srgbClr val="FFFFFF"/>
                  </a:solidFill>
                  <a:latin typeface="Calibri"/>
                  <a:cs typeface="Calibri"/>
                </a:rPr>
                <a:t> </a:t>
              </a:r>
              <a:r>
                <a:rPr sz="1550" dirty="0">
                  <a:solidFill>
                    <a:srgbClr val="FFFFFF"/>
                  </a:solidFill>
                  <a:latin typeface="Calibri"/>
                  <a:cs typeface="Calibri"/>
                </a:rPr>
                <a:t>Transform</a:t>
              </a:r>
              <a:r>
                <a:rPr sz="1550" spc="150" dirty="0">
                  <a:solidFill>
                    <a:srgbClr val="FFFFFF"/>
                  </a:solidFill>
                  <a:latin typeface="Calibri"/>
                  <a:cs typeface="Calibri"/>
                </a:rPr>
                <a:t> </a:t>
              </a:r>
              <a:r>
                <a:rPr sz="1550" dirty="0">
                  <a:solidFill>
                    <a:srgbClr val="FFFFFF"/>
                  </a:solidFill>
                  <a:latin typeface="Calibri"/>
                  <a:cs typeface="Calibri"/>
                </a:rPr>
                <a:t>user</a:t>
              </a:r>
              <a:r>
                <a:rPr sz="1550" spc="195" dirty="0">
                  <a:solidFill>
                    <a:srgbClr val="FFFFFF"/>
                  </a:solidFill>
                  <a:latin typeface="Calibri"/>
                  <a:cs typeface="Calibri"/>
                </a:rPr>
                <a:t> </a:t>
              </a:r>
              <a:r>
                <a:rPr sz="1550" dirty="0">
                  <a:solidFill>
                    <a:srgbClr val="FFFFFF"/>
                  </a:solidFill>
                  <a:latin typeface="Calibri"/>
                  <a:cs typeface="Calibri"/>
                </a:rPr>
                <a:t>queries</a:t>
              </a:r>
              <a:r>
                <a:rPr sz="1550" spc="110" dirty="0">
                  <a:solidFill>
                    <a:srgbClr val="FFFFFF"/>
                  </a:solidFill>
                  <a:latin typeface="Calibri"/>
                  <a:cs typeface="Calibri"/>
                </a:rPr>
                <a:t> </a:t>
              </a:r>
              <a:r>
                <a:rPr sz="1550" dirty="0">
                  <a:solidFill>
                    <a:srgbClr val="FFFFFF"/>
                  </a:solidFill>
                  <a:latin typeface="Calibri"/>
                  <a:cs typeface="Calibri"/>
                </a:rPr>
                <a:t>to</a:t>
              </a:r>
              <a:r>
                <a:rPr sz="1550" spc="114" dirty="0">
                  <a:solidFill>
                    <a:srgbClr val="FFFFFF"/>
                  </a:solidFill>
                  <a:latin typeface="Calibri"/>
                  <a:cs typeface="Calibri"/>
                </a:rPr>
                <a:t> </a:t>
              </a:r>
              <a:r>
                <a:rPr sz="1550" dirty="0">
                  <a:solidFill>
                    <a:srgbClr val="FFFFFF"/>
                  </a:solidFill>
                  <a:latin typeface="Calibri"/>
                  <a:cs typeface="Calibri"/>
                </a:rPr>
                <a:t>embeddings</a:t>
              </a:r>
              <a:r>
                <a:rPr sz="1550" spc="110" dirty="0">
                  <a:solidFill>
                    <a:srgbClr val="FFFFFF"/>
                  </a:solidFill>
                  <a:latin typeface="Calibri"/>
                  <a:cs typeface="Calibri"/>
                </a:rPr>
                <a:t> </a:t>
              </a:r>
              <a:r>
                <a:rPr sz="1550" spc="-25" dirty="0">
                  <a:solidFill>
                    <a:srgbClr val="FFFFFF"/>
                  </a:solidFill>
                  <a:latin typeface="Calibri"/>
                  <a:cs typeface="Calibri"/>
                </a:rPr>
                <a:t>to</a:t>
              </a:r>
              <a:endParaRPr sz="1550">
                <a:latin typeface="Calibri"/>
                <a:cs typeface="Calibri"/>
              </a:endParaRPr>
            </a:p>
            <a:p>
              <a:pPr marL="12700">
                <a:lnSpc>
                  <a:spcPct val="100000"/>
                </a:lnSpc>
                <a:spcBef>
                  <a:spcPts val="90"/>
                </a:spcBef>
              </a:pPr>
              <a:r>
                <a:rPr sz="1550" dirty="0">
                  <a:solidFill>
                    <a:srgbClr val="FFFFFF"/>
                  </a:solidFill>
                  <a:latin typeface="Calibri"/>
                  <a:cs typeface="Calibri"/>
                </a:rPr>
                <a:t>compare</a:t>
              </a:r>
              <a:r>
                <a:rPr sz="1550" spc="130" dirty="0">
                  <a:solidFill>
                    <a:srgbClr val="FFFFFF"/>
                  </a:solidFill>
                  <a:latin typeface="Calibri"/>
                  <a:cs typeface="Calibri"/>
                </a:rPr>
                <a:t> </a:t>
              </a:r>
              <a:r>
                <a:rPr sz="1550" dirty="0">
                  <a:solidFill>
                    <a:srgbClr val="FFFFFF"/>
                  </a:solidFill>
                  <a:latin typeface="Calibri"/>
                  <a:cs typeface="Calibri"/>
                </a:rPr>
                <a:t>its</a:t>
              </a:r>
              <a:r>
                <a:rPr sz="1550" spc="65" dirty="0">
                  <a:solidFill>
                    <a:srgbClr val="FFFFFF"/>
                  </a:solidFill>
                  <a:latin typeface="Calibri"/>
                  <a:cs typeface="Calibri"/>
                </a:rPr>
                <a:t> </a:t>
              </a:r>
              <a:r>
                <a:rPr sz="1550" dirty="0">
                  <a:solidFill>
                    <a:srgbClr val="FFFFFF"/>
                  </a:solidFill>
                  <a:latin typeface="Calibri"/>
                  <a:cs typeface="Calibri"/>
                </a:rPr>
                <a:t>similarity</a:t>
              </a:r>
              <a:r>
                <a:rPr sz="1550" spc="125" dirty="0">
                  <a:solidFill>
                    <a:srgbClr val="FFFFFF"/>
                  </a:solidFill>
                  <a:latin typeface="Calibri"/>
                  <a:cs typeface="Calibri"/>
                </a:rPr>
                <a:t> </a:t>
              </a:r>
              <a:r>
                <a:rPr sz="1550" dirty="0">
                  <a:solidFill>
                    <a:srgbClr val="FFFFFF"/>
                  </a:solidFill>
                  <a:latin typeface="Calibri"/>
                  <a:cs typeface="Calibri"/>
                </a:rPr>
                <a:t>score</a:t>
              </a:r>
              <a:r>
                <a:rPr sz="1550" spc="135" dirty="0">
                  <a:solidFill>
                    <a:srgbClr val="FFFFFF"/>
                  </a:solidFill>
                  <a:latin typeface="Calibri"/>
                  <a:cs typeface="Calibri"/>
                </a:rPr>
                <a:t> </a:t>
              </a:r>
              <a:r>
                <a:rPr sz="1550" dirty="0">
                  <a:solidFill>
                    <a:srgbClr val="FFFFFF"/>
                  </a:solidFill>
                  <a:latin typeface="Calibri"/>
                  <a:cs typeface="Calibri"/>
                </a:rPr>
                <a:t>with</a:t>
              </a:r>
              <a:r>
                <a:rPr sz="1550" spc="80" dirty="0">
                  <a:solidFill>
                    <a:srgbClr val="FFFFFF"/>
                  </a:solidFill>
                  <a:latin typeface="Calibri"/>
                  <a:cs typeface="Calibri"/>
                </a:rPr>
                <a:t> </a:t>
              </a:r>
              <a:r>
                <a:rPr sz="1550" dirty="0">
                  <a:solidFill>
                    <a:srgbClr val="FFFFFF"/>
                  </a:solidFill>
                  <a:latin typeface="Calibri"/>
                  <a:cs typeface="Calibri"/>
                </a:rPr>
                <a:t>other</a:t>
              </a:r>
              <a:r>
                <a:rPr sz="1550" spc="145" dirty="0">
                  <a:solidFill>
                    <a:srgbClr val="FFFFFF"/>
                  </a:solidFill>
                  <a:latin typeface="Calibri"/>
                  <a:cs typeface="Calibri"/>
                </a:rPr>
                <a:t> </a:t>
              </a:r>
              <a:r>
                <a:rPr sz="1550" spc="-10" dirty="0">
                  <a:solidFill>
                    <a:srgbClr val="FFFFFF"/>
                  </a:solidFill>
                  <a:latin typeface="Calibri"/>
                  <a:cs typeface="Calibri"/>
                </a:rPr>
                <a:t>content.</a:t>
              </a:r>
              <a:endParaRPr sz="1550">
                <a:latin typeface="Calibri"/>
                <a:cs typeface="Calibri"/>
              </a:endParaRPr>
            </a:p>
            <a:p>
              <a:pPr marL="12700" marR="5080" indent="107314">
                <a:lnSpc>
                  <a:spcPts val="1950"/>
                </a:lnSpc>
                <a:spcBef>
                  <a:spcPts val="10"/>
                </a:spcBef>
                <a:buClr>
                  <a:srgbClr val="FFFFFF"/>
                </a:buClr>
                <a:buFont typeface="Calibri"/>
                <a:buChar char="-"/>
                <a:tabLst>
                  <a:tab pos="120014" algn="l"/>
                </a:tabLst>
              </a:pPr>
              <a:r>
                <a:rPr sz="1550" b="1" dirty="0">
                  <a:solidFill>
                    <a:srgbClr val="FFD966"/>
                  </a:solidFill>
                  <a:latin typeface="Calibri"/>
                  <a:cs typeface="Calibri"/>
                </a:rPr>
                <a:t>Augment</a:t>
              </a:r>
              <a:r>
                <a:rPr sz="1550" dirty="0">
                  <a:solidFill>
                    <a:srgbClr val="FFFFFF"/>
                  </a:solidFill>
                  <a:latin typeface="Calibri"/>
                  <a:cs typeface="Calibri"/>
                </a:rPr>
                <a:t>:</a:t>
              </a:r>
              <a:r>
                <a:rPr sz="1550" spc="145" dirty="0">
                  <a:solidFill>
                    <a:srgbClr val="FFFFFF"/>
                  </a:solidFill>
                  <a:latin typeface="Calibri"/>
                  <a:cs typeface="Calibri"/>
                </a:rPr>
                <a:t> </a:t>
              </a:r>
              <a:r>
                <a:rPr sz="1550" dirty="0">
                  <a:solidFill>
                    <a:srgbClr val="FFFFFF"/>
                  </a:solidFill>
                  <a:latin typeface="Calibri"/>
                  <a:cs typeface="Calibri"/>
                </a:rPr>
                <a:t>with</a:t>
              </a:r>
              <a:r>
                <a:rPr sz="1550" spc="110" dirty="0">
                  <a:solidFill>
                    <a:srgbClr val="FFFFFF"/>
                  </a:solidFill>
                  <a:latin typeface="Calibri"/>
                  <a:cs typeface="Calibri"/>
                </a:rPr>
                <a:t> </a:t>
              </a:r>
              <a:r>
                <a:rPr sz="1550" dirty="0">
                  <a:solidFill>
                    <a:srgbClr val="FFFFFF"/>
                  </a:solidFill>
                  <a:latin typeface="Calibri"/>
                  <a:cs typeface="Calibri"/>
                </a:rPr>
                <a:t>search</a:t>
              </a:r>
              <a:r>
                <a:rPr sz="1550" spc="114" dirty="0">
                  <a:solidFill>
                    <a:srgbClr val="FFFFFF"/>
                  </a:solidFill>
                  <a:latin typeface="Calibri"/>
                  <a:cs typeface="Calibri"/>
                </a:rPr>
                <a:t> </a:t>
              </a:r>
              <a:r>
                <a:rPr sz="1550" dirty="0">
                  <a:solidFill>
                    <a:srgbClr val="FFFFFF"/>
                  </a:solidFill>
                  <a:latin typeface="Calibri"/>
                  <a:cs typeface="Calibri"/>
                </a:rPr>
                <a:t>results</a:t>
              </a:r>
              <a:r>
                <a:rPr sz="1550" spc="90" dirty="0">
                  <a:solidFill>
                    <a:srgbClr val="FFFFFF"/>
                  </a:solidFill>
                  <a:latin typeface="Calibri"/>
                  <a:cs typeface="Calibri"/>
                </a:rPr>
                <a:t> </a:t>
              </a:r>
              <a:r>
                <a:rPr sz="1550" dirty="0">
                  <a:solidFill>
                    <a:srgbClr val="FFFFFF"/>
                  </a:solidFill>
                  <a:latin typeface="Calibri"/>
                  <a:cs typeface="Calibri"/>
                </a:rPr>
                <a:t>/</a:t>
              </a:r>
              <a:r>
                <a:rPr sz="1550" spc="105" dirty="0">
                  <a:solidFill>
                    <a:srgbClr val="FFFFFF"/>
                  </a:solidFill>
                  <a:latin typeface="Calibri"/>
                  <a:cs typeface="Calibri"/>
                </a:rPr>
                <a:t> </a:t>
              </a:r>
              <a:r>
                <a:rPr sz="1550" dirty="0">
                  <a:solidFill>
                    <a:srgbClr val="FFFFFF"/>
                  </a:solidFill>
                  <a:latin typeface="Calibri"/>
                  <a:cs typeface="Calibri"/>
                </a:rPr>
                <a:t>context</a:t>
              </a:r>
              <a:r>
                <a:rPr sz="1550" spc="114" dirty="0">
                  <a:solidFill>
                    <a:srgbClr val="FFFFFF"/>
                  </a:solidFill>
                  <a:latin typeface="Calibri"/>
                  <a:cs typeface="Calibri"/>
                </a:rPr>
                <a:t> </a:t>
              </a:r>
              <a:r>
                <a:rPr sz="1550" dirty="0">
                  <a:solidFill>
                    <a:srgbClr val="FFFFFF"/>
                  </a:solidFill>
                  <a:latin typeface="Calibri"/>
                  <a:cs typeface="Calibri"/>
                </a:rPr>
                <a:t>retrieved</a:t>
              </a:r>
              <a:r>
                <a:rPr sz="1550" spc="110" dirty="0">
                  <a:solidFill>
                    <a:srgbClr val="FFFFFF"/>
                  </a:solidFill>
                  <a:latin typeface="Calibri"/>
                  <a:cs typeface="Calibri"/>
                </a:rPr>
                <a:t> </a:t>
              </a:r>
              <a:r>
                <a:rPr sz="1550" spc="-20" dirty="0">
                  <a:solidFill>
                    <a:srgbClr val="FFFFFF"/>
                  </a:solidFill>
                  <a:latin typeface="Calibri"/>
                  <a:cs typeface="Calibri"/>
                </a:rPr>
                <a:t>from </a:t>
              </a:r>
              <a:r>
                <a:rPr sz="1550" dirty="0">
                  <a:solidFill>
                    <a:srgbClr val="FFFFFF"/>
                  </a:solidFill>
                  <a:latin typeface="Calibri"/>
                  <a:cs typeface="Calibri"/>
                </a:rPr>
                <a:t>a</a:t>
              </a:r>
              <a:r>
                <a:rPr sz="1550" spc="75" dirty="0">
                  <a:solidFill>
                    <a:srgbClr val="FFFFFF"/>
                  </a:solidFill>
                  <a:latin typeface="Calibri"/>
                  <a:cs typeface="Calibri"/>
                </a:rPr>
                <a:t> </a:t>
              </a:r>
              <a:r>
                <a:rPr sz="1550" dirty="0">
                  <a:solidFill>
                    <a:srgbClr val="FFFFFF"/>
                  </a:solidFill>
                  <a:latin typeface="Calibri"/>
                  <a:cs typeface="Calibri"/>
                </a:rPr>
                <a:t>vector</a:t>
              </a:r>
              <a:r>
                <a:rPr sz="1550" spc="55" dirty="0">
                  <a:solidFill>
                    <a:srgbClr val="FFFFFF"/>
                  </a:solidFill>
                  <a:latin typeface="Calibri"/>
                  <a:cs typeface="Calibri"/>
                </a:rPr>
                <a:t> </a:t>
              </a:r>
              <a:r>
                <a:rPr sz="1550" dirty="0">
                  <a:solidFill>
                    <a:srgbClr val="FFFFFF"/>
                  </a:solidFill>
                  <a:latin typeface="Calibri"/>
                  <a:cs typeface="Calibri"/>
                </a:rPr>
                <a:t>store</a:t>
              </a:r>
              <a:r>
                <a:rPr sz="1550" spc="40" dirty="0">
                  <a:solidFill>
                    <a:srgbClr val="FFFFFF"/>
                  </a:solidFill>
                  <a:latin typeface="Calibri"/>
                  <a:cs typeface="Calibri"/>
                </a:rPr>
                <a:t> </a:t>
              </a:r>
              <a:r>
                <a:rPr sz="1550" dirty="0">
                  <a:solidFill>
                    <a:srgbClr val="FFFFFF"/>
                  </a:solidFill>
                  <a:latin typeface="Calibri"/>
                  <a:cs typeface="Calibri"/>
                </a:rPr>
                <a:t>that</a:t>
              </a:r>
              <a:r>
                <a:rPr sz="1550" spc="85" dirty="0">
                  <a:solidFill>
                    <a:srgbClr val="FFFFFF"/>
                  </a:solidFill>
                  <a:latin typeface="Calibri"/>
                  <a:cs typeface="Calibri"/>
                </a:rPr>
                <a:t> </a:t>
              </a:r>
              <a:r>
                <a:rPr sz="1550" dirty="0">
                  <a:solidFill>
                    <a:srgbClr val="FFFFFF"/>
                  </a:solidFill>
                  <a:latin typeface="Calibri"/>
                  <a:cs typeface="Calibri"/>
                </a:rPr>
                <a:t>is</a:t>
              </a:r>
              <a:r>
                <a:rPr sz="1550" spc="150" dirty="0">
                  <a:solidFill>
                    <a:srgbClr val="FFFFFF"/>
                  </a:solidFill>
                  <a:latin typeface="Calibri"/>
                  <a:cs typeface="Calibri"/>
                </a:rPr>
                <a:t> </a:t>
              </a:r>
              <a:r>
                <a:rPr sz="1550" dirty="0">
                  <a:solidFill>
                    <a:srgbClr val="FFFFFF"/>
                  </a:solidFill>
                  <a:latin typeface="Calibri"/>
                  <a:cs typeface="Calibri"/>
                </a:rPr>
                <a:t>kept</a:t>
              </a:r>
              <a:r>
                <a:rPr sz="1550" spc="80" dirty="0">
                  <a:solidFill>
                    <a:srgbClr val="FFFFFF"/>
                  </a:solidFill>
                  <a:latin typeface="Calibri"/>
                  <a:cs typeface="Calibri"/>
                </a:rPr>
                <a:t> </a:t>
              </a:r>
              <a:r>
                <a:rPr sz="1550" dirty="0">
                  <a:solidFill>
                    <a:srgbClr val="FFFFFF"/>
                  </a:solidFill>
                  <a:latin typeface="Calibri"/>
                  <a:cs typeface="Calibri"/>
                </a:rPr>
                <a:t>current</a:t>
              </a:r>
              <a:r>
                <a:rPr sz="1550" spc="75" dirty="0">
                  <a:solidFill>
                    <a:srgbClr val="FFFFFF"/>
                  </a:solidFill>
                  <a:latin typeface="Calibri"/>
                  <a:cs typeface="Calibri"/>
                </a:rPr>
                <a:t> </a:t>
              </a:r>
              <a:r>
                <a:rPr sz="1550" dirty="0">
                  <a:solidFill>
                    <a:srgbClr val="FFFFFF"/>
                  </a:solidFill>
                  <a:latin typeface="Calibri"/>
                  <a:cs typeface="Calibri"/>
                </a:rPr>
                <a:t>and</a:t>
              </a:r>
              <a:r>
                <a:rPr sz="1550" spc="80" dirty="0">
                  <a:solidFill>
                    <a:srgbClr val="FFFFFF"/>
                  </a:solidFill>
                  <a:latin typeface="Calibri"/>
                  <a:cs typeface="Calibri"/>
                </a:rPr>
                <a:t> </a:t>
              </a:r>
              <a:r>
                <a:rPr sz="1550" dirty="0">
                  <a:solidFill>
                    <a:srgbClr val="FFFFFF"/>
                  </a:solidFill>
                  <a:latin typeface="Calibri"/>
                  <a:cs typeface="Calibri"/>
                </a:rPr>
                <a:t>in</a:t>
              </a:r>
              <a:r>
                <a:rPr sz="1550" spc="75" dirty="0">
                  <a:solidFill>
                    <a:srgbClr val="FFFFFF"/>
                  </a:solidFill>
                  <a:latin typeface="Calibri"/>
                  <a:cs typeface="Calibri"/>
                </a:rPr>
                <a:t> </a:t>
              </a:r>
              <a:r>
                <a:rPr sz="1550" dirty="0">
                  <a:solidFill>
                    <a:srgbClr val="FFFFFF"/>
                  </a:solidFill>
                  <a:latin typeface="Calibri"/>
                  <a:cs typeface="Calibri"/>
                </a:rPr>
                <a:t>sync</a:t>
              </a:r>
              <a:r>
                <a:rPr sz="1550" spc="90" dirty="0">
                  <a:solidFill>
                    <a:srgbClr val="FFFFFF"/>
                  </a:solidFill>
                  <a:latin typeface="Calibri"/>
                  <a:cs typeface="Calibri"/>
                </a:rPr>
                <a:t> </a:t>
              </a:r>
              <a:r>
                <a:rPr sz="1550" dirty="0">
                  <a:solidFill>
                    <a:srgbClr val="FFFFFF"/>
                  </a:solidFill>
                  <a:latin typeface="Calibri"/>
                  <a:cs typeface="Calibri"/>
                </a:rPr>
                <a:t>with</a:t>
              </a:r>
              <a:r>
                <a:rPr sz="1550" spc="75" dirty="0">
                  <a:solidFill>
                    <a:srgbClr val="FFFFFF"/>
                  </a:solidFill>
                  <a:latin typeface="Calibri"/>
                  <a:cs typeface="Calibri"/>
                </a:rPr>
                <a:t> </a:t>
              </a:r>
              <a:r>
                <a:rPr sz="1550" spc="-25" dirty="0">
                  <a:solidFill>
                    <a:srgbClr val="FFFFFF"/>
                  </a:solidFill>
                  <a:latin typeface="Calibri"/>
                  <a:cs typeface="Calibri"/>
                </a:rPr>
                <a:t>the </a:t>
              </a:r>
              <a:r>
                <a:rPr sz="1550" dirty="0">
                  <a:solidFill>
                    <a:srgbClr val="FFFFFF"/>
                  </a:solidFill>
                  <a:latin typeface="Calibri"/>
                  <a:cs typeface="Calibri"/>
                </a:rPr>
                <a:t>underlying</a:t>
              </a:r>
              <a:r>
                <a:rPr sz="1550" spc="204" dirty="0">
                  <a:solidFill>
                    <a:srgbClr val="FFFFFF"/>
                  </a:solidFill>
                  <a:latin typeface="Calibri"/>
                  <a:cs typeface="Calibri"/>
                </a:rPr>
                <a:t> </a:t>
              </a:r>
              <a:r>
                <a:rPr sz="1550" dirty="0">
                  <a:solidFill>
                    <a:srgbClr val="FFFFFF"/>
                  </a:solidFill>
                  <a:latin typeface="Calibri"/>
                  <a:cs typeface="Calibri"/>
                </a:rPr>
                <a:t>document</a:t>
              </a:r>
              <a:r>
                <a:rPr sz="1550" spc="195" dirty="0">
                  <a:solidFill>
                    <a:srgbClr val="FFFFFF"/>
                  </a:solidFill>
                  <a:latin typeface="Calibri"/>
                  <a:cs typeface="Calibri"/>
                </a:rPr>
                <a:t> </a:t>
              </a:r>
              <a:r>
                <a:rPr sz="1550" spc="-10" dirty="0">
                  <a:solidFill>
                    <a:srgbClr val="FFFFFF"/>
                  </a:solidFill>
                  <a:latin typeface="Calibri"/>
                  <a:cs typeface="Calibri"/>
                </a:rPr>
                <a:t>repository.</a:t>
              </a:r>
              <a:endParaRPr sz="1550">
                <a:latin typeface="Calibri"/>
                <a:cs typeface="Calibri"/>
              </a:endParaRPr>
            </a:p>
            <a:p>
              <a:pPr marL="120014" indent="-107314">
                <a:lnSpc>
                  <a:spcPts val="1800"/>
                </a:lnSpc>
                <a:buClr>
                  <a:srgbClr val="FFFFFF"/>
                </a:buClr>
                <a:buFont typeface="Calibri"/>
                <a:buChar char="-"/>
                <a:tabLst>
                  <a:tab pos="120014" algn="l"/>
                </a:tabLst>
              </a:pPr>
              <a:r>
                <a:rPr sz="1550" b="1" dirty="0">
                  <a:solidFill>
                    <a:srgbClr val="FFD966"/>
                  </a:solidFill>
                  <a:latin typeface="Calibri"/>
                  <a:cs typeface="Calibri"/>
                </a:rPr>
                <a:t>Generate</a:t>
              </a:r>
              <a:r>
                <a:rPr sz="1550" dirty="0">
                  <a:solidFill>
                    <a:srgbClr val="FFFFFF"/>
                  </a:solidFill>
                  <a:latin typeface="Calibri"/>
                  <a:cs typeface="Calibri"/>
                </a:rPr>
                <a:t>:</a:t>
              </a:r>
              <a:r>
                <a:rPr sz="1550" spc="200" dirty="0">
                  <a:solidFill>
                    <a:srgbClr val="FFFFFF"/>
                  </a:solidFill>
                  <a:latin typeface="Calibri"/>
                  <a:cs typeface="Calibri"/>
                </a:rPr>
                <a:t> </a:t>
              </a:r>
              <a:r>
                <a:rPr sz="1550" dirty="0">
                  <a:solidFill>
                    <a:srgbClr val="FFFFFF"/>
                  </a:solidFill>
                  <a:latin typeface="Calibri"/>
                  <a:cs typeface="Calibri"/>
                </a:rPr>
                <a:t>contextualized</a:t>
              </a:r>
              <a:r>
                <a:rPr sz="1550" spc="165" dirty="0">
                  <a:solidFill>
                    <a:srgbClr val="FFFFFF"/>
                  </a:solidFill>
                  <a:latin typeface="Calibri"/>
                  <a:cs typeface="Calibri"/>
                </a:rPr>
                <a:t> </a:t>
              </a:r>
              <a:r>
                <a:rPr sz="1550" dirty="0">
                  <a:solidFill>
                    <a:srgbClr val="FFFFFF"/>
                  </a:solidFill>
                  <a:latin typeface="Calibri"/>
                  <a:cs typeface="Calibri"/>
                </a:rPr>
                <a:t>responses</a:t>
              </a:r>
              <a:r>
                <a:rPr sz="1550" spc="150" dirty="0">
                  <a:solidFill>
                    <a:srgbClr val="FFFFFF"/>
                  </a:solidFill>
                  <a:latin typeface="Calibri"/>
                  <a:cs typeface="Calibri"/>
                </a:rPr>
                <a:t> </a:t>
              </a:r>
              <a:r>
                <a:rPr sz="1550" dirty="0">
                  <a:solidFill>
                    <a:srgbClr val="FFFFFF"/>
                  </a:solidFill>
                  <a:latin typeface="Calibri"/>
                  <a:cs typeface="Calibri"/>
                </a:rPr>
                <a:t>by</a:t>
              </a:r>
              <a:r>
                <a:rPr sz="1550" spc="105" dirty="0">
                  <a:solidFill>
                    <a:srgbClr val="FFFFFF"/>
                  </a:solidFill>
                  <a:latin typeface="Calibri"/>
                  <a:cs typeface="Calibri"/>
                </a:rPr>
                <a:t> </a:t>
              </a:r>
              <a:r>
                <a:rPr sz="1550" spc="-10" dirty="0">
                  <a:solidFill>
                    <a:srgbClr val="FFFFFF"/>
                  </a:solidFill>
                  <a:latin typeface="Calibri"/>
                  <a:cs typeface="Calibri"/>
                </a:rPr>
                <a:t>making</a:t>
              </a:r>
              <a:endParaRPr sz="1550">
                <a:latin typeface="Calibri"/>
                <a:cs typeface="Calibri"/>
              </a:endParaRPr>
            </a:p>
            <a:p>
              <a:pPr marL="12700" marR="430530">
                <a:lnSpc>
                  <a:spcPct val="103000"/>
                </a:lnSpc>
                <a:spcBef>
                  <a:spcPts val="35"/>
                </a:spcBef>
              </a:pPr>
              <a:r>
                <a:rPr sz="1550" dirty="0">
                  <a:solidFill>
                    <a:srgbClr val="FFFFFF"/>
                  </a:solidFill>
                  <a:latin typeface="Calibri"/>
                  <a:cs typeface="Calibri"/>
                </a:rPr>
                <a:t>retrieved</a:t>
              </a:r>
              <a:r>
                <a:rPr sz="1550" spc="110" dirty="0">
                  <a:solidFill>
                    <a:srgbClr val="FFFFFF"/>
                  </a:solidFill>
                  <a:latin typeface="Calibri"/>
                  <a:cs typeface="Calibri"/>
                </a:rPr>
                <a:t> </a:t>
              </a:r>
              <a:r>
                <a:rPr sz="1550" dirty="0">
                  <a:solidFill>
                    <a:srgbClr val="FFFFFF"/>
                  </a:solidFill>
                  <a:latin typeface="Calibri"/>
                  <a:cs typeface="Calibri"/>
                </a:rPr>
                <a:t>chunks</a:t>
              </a:r>
              <a:r>
                <a:rPr sz="1550" spc="95" dirty="0">
                  <a:solidFill>
                    <a:srgbClr val="FFFFFF"/>
                  </a:solidFill>
                  <a:latin typeface="Calibri"/>
                  <a:cs typeface="Calibri"/>
                </a:rPr>
                <a:t> </a:t>
              </a:r>
              <a:r>
                <a:rPr sz="1550" dirty="0">
                  <a:solidFill>
                    <a:srgbClr val="FFFFFF"/>
                  </a:solidFill>
                  <a:latin typeface="Calibri"/>
                  <a:cs typeface="Calibri"/>
                </a:rPr>
                <a:t>part</a:t>
              </a:r>
              <a:r>
                <a:rPr sz="1550" spc="120" dirty="0">
                  <a:solidFill>
                    <a:srgbClr val="FFFFFF"/>
                  </a:solidFill>
                  <a:latin typeface="Calibri"/>
                  <a:cs typeface="Calibri"/>
                </a:rPr>
                <a:t> </a:t>
              </a:r>
              <a:r>
                <a:rPr sz="1550" dirty="0">
                  <a:solidFill>
                    <a:srgbClr val="FFFFFF"/>
                  </a:solidFill>
                  <a:latin typeface="Calibri"/>
                  <a:cs typeface="Calibri"/>
                </a:rPr>
                <a:t>of</a:t>
              </a:r>
              <a:r>
                <a:rPr sz="1550" spc="175" dirty="0">
                  <a:solidFill>
                    <a:srgbClr val="FFFFFF"/>
                  </a:solidFill>
                  <a:latin typeface="Calibri"/>
                  <a:cs typeface="Calibri"/>
                </a:rPr>
                <a:t> </a:t>
              </a:r>
              <a:r>
                <a:rPr sz="1550" dirty="0">
                  <a:solidFill>
                    <a:srgbClr val="FFFFFF"/>
                  </a:solidFill>
                  <a:latin typeface="Calibri"/>
                  <a:cs typeface="Calibri"/>
                </a:rPr>
                <a:t>the</a:t>
              </a:r>
              <a:r>
                <a:rPr sz="1550" spc="70" dirty="0">
                  <a:solidFill>
                    <a:srgbClr val="FFFFFF"/>
                  </a:solidFill>
                  <a:latin typeface="Calibri"/>
                  <a:cs typeface="Calibri"/>
                </a:rPr>
                <a:t> </a:t>
              </a:r>
              <a:r>
                <a:rPr sz="1550" dirty="0">
                  <a:solidFill>
                    <a:srgbClr val="FFFFFF"/>
                  </a:solidFill>
                  <a:latin typeface="Calibri"/>
                  <a:cs typeface="Calibri"/>
                </a:rPr>
                <a:t>prompt</a:t>
              </a:r>
              <a:r>
                <a:rPr sz="1550" spc="120" dirty="0">
                  <a:solidFill>
                    <a:srgbClr val="FFFFFF"/>
                  </a:solidFill>
                  <a:latin typeface="Calibri"/>
                  <a:cs typeface="Calibri"/>
                </a:rPr>
                <a:t> </a:t>
              </a:r>
              <a:r>
                <a:rPr sz="1550" dirty="0">
                  <a:solidFill>
                    <a:srgbClr val="FFFFFF"/>
                  </a:solidFill>
                  <a:latin typeface="Calibri"/>
                  <a:cs typeface="Calibri"/>
                </a:rPr>
                <a:t>template</a:t>
              </a:r>
              <a:r>
                <a:rPr sz="1550" spc="65" dirty="0">
                  <a:solidFill>
                    <a:srgbClr val="FFFFFF"/>
                  </a:solidFill>
                  <a:latin typeface="Calibri"/>
                  <a:cs typeface="Calibri"/>
                </a:rPr>
                <a:t> </a:t>
              </a:r>
              <a:r>
                <a:rPr sz="1550" spc="-20" dirty="0">
                  <a:solidFill>
                    <a:srgbClr val="FFFFFF"/>
                  </a:solidFill>
                  <a:latin typeface="Calibri"/>
                  <a:cs typeface="Calibri"/>
                </a:rPr>
                <a:t>that </a:t>
              </a:r>
              <a:r>
                <a:rPr sz="1550" dirty="0">
                  <a:solidFill>
                    <a:srgbClr val="FFFFFF"/>
                  </a:solidFill>
                  <a:latin typeface="Calibri"/>
                  <a:cs typeface="Calibri"/>
                </a:rPr>
                <a:t>provides</a:t>
              </a:r>
              <a:r>
                <a:rPr sz="1550" spc="165" dirty="0">
                  <a:solidFill>
                    <a:srgbClr val="FFFFFF"/>
                  </a:solidFill>
                  <a:latin typeface="Calibri"/>
                  <a:cs typeface="Calibri"/>
                </a:rPr>
                <a:t> </a:t>
              </a:r>
              <a:r>
                <a:rPr sz="1550" dirty="0">
                  <a:solidFill>
                    <a:srgbClr val="FFFFFF"/>
                  </a:solidFill>
                  <a:latin typeface="Calibri"/>
                  <a:cs typeface="Calibri"/>
                </a:rPr>
                <a:t>additional</a:t>
              </a:r>
              <a:r>
                <a:rPr sz="1550" spc="25" dirty="0">
                  <a:solidFill>
                    <a:srgbClr val="FFFFFF"/>
                  </a:solidFill>
                  <a:latin typeface="Calibri"/>
                  <a:cs typeface="Calibri"/>
                </a:rPr>
                <a:t> </a:t>
              </a:r>
              <a:r>
                <a:rPr sz="1550" dirty="0">
                  <a:solidFill>
                    <a:srgbClr val="FFFFFF"/>
                  </a:solidFill>
                  <a:latin typeface="Calibri"/>
                  <a:cs typeface="Calibri"/>
                </a:rPr>
                <a:t>context</a:t>
              </a:r>
              <a:r>
                <a:rPr sz="1550" spc="100" dirty="0">
                  <a:solidFill>
                    <a:srgbClr val="FFFFFF"/>
                  </a:solidFill>
                  <a:latin typeface="Calibri"/>
                  <a:cs typeface="Calibri"/>
                </a:rPr>
                <a:t> </a:t>
              </a:r>
              <a:r>
                <a:rPr sz="1550" dirty="0">
                  <a:solidFill>
                    <a:srgbClr val="FFFFFF"/>
                  </a:solidFill>
                  <a:latin typeface="Calibri"/>
                  <a:cs typeface="Calibri"/>
                </a:rPr>
                <a:t>to</a:t>
              </a:r>
              <a:r>
                <a:rPr sz="1550" spc="85" dirty="0">
                  <a:solidFill>
                    <a:srgbClr val="FFFFFF"/>
                  </a:solidFill>
                  <a:latin typeface="Calibri"/>
                  <a:cs typeface="Calibri"/>
                </a:rPr>
                <a:t> </a:t>
              </a:r>
              <a:r>
                <a:rPr sz="1550" dirty="0">
                  <a:solidFill>
                    <a:srgbClr val="FFFFFF"/>
                  </a:solidFill>
                  <a:latin typeface="Calibri"/>
                  <a:cs typeface="Calibri"/>
                </a:rPr>
                <a:t>the</a:t>
              </a:r>
              <a:r>
                <a:rPr sz="1550" spc="145" dirty="0">
                  <a:solidFill>
                    <a:srgbClr val="FFFFFF"/>
                  </a:solidFill>
                  <a:latin typeface="Calibri"/>
                  <a:cs typeface="Calibri"/>
                </a:rPr>
                <a:t> </a:t>
              </a:r>
              <a:r>
                <a:rPr sz="1550" dirty="0">
                  <a:solidFill>
                    <a:srgbClr val="FFFFFF"/>
                  </a:solidFill>
                  <a:latin typeface="Calibri"/>
                  <a:cs typeface="Calibri"/>
                </a:rPr>
                <a:t>LLM</a:t>
              </a:r>
              <a:r>
                <a:rPr sz="1550" spc="105" dirty="0">
                  <a:solidFill>
                    <a:srgbClr val="FFFFFF"/>
                  </a:solidFill>
                  <a:latin typeface="Calibri"/>
                  <a:cs typeface="Calibri"/>
                </a:rPr>
                <a:t> </a:t>
              </a:r>
              <a:r>
                <a:rPr sz="1550" dirty="0">
                  <a:solidFill>
                    <a:srgbClr val="FFFFFF"/>
                  </a:solidFill>
                  <a:latin typeface="Calibri"/>
                  <a:cs typeface="Calibri"/>
                </a:rPr>
                <a:t>on</a:t>
              </a:r>
              <a:r>
                <a:rPr sz="1550" spc="90" dirty="0">
                  <a:solidFill>
                    <a:srgbClr val="FFFFFF"/>
                  </a:solidFill>
                  <a:latin typeface="Calibri"/>
                  <a:cs typeface="Calibri"/>
                </a:rPr>
                <a:t> </a:t>
              </a:r>
              <a:r>
                <a:rPr sz="1550" dirty="0">
                  <a:solidFill>
                    <a:srgbClr val="FFFFFF"/>
                  </a:solidFill>
                  <a:latin typeface="Calibri"/>
                  <a:cs typeface="Calibri"/>
                </a:rPr>
                <a:t>how</a:t>
              </a:r>
              <a:r>
                <a:rPr sz="1550" spc="95" dirty="0">
                  <a:solidFill>
                    <a:srgbClr val="FFFFFF"/>
                  </a:solidFill>
                  <a:latin typeface="Calibri"/>
                  <a:cs typeface="Calibri"/>
                </a:rPr>
                <a:t> </a:t>
              </a:r>
              <a:r>
                <a:rPr sz="1550" spc="-25" dirty="0">
                  <a:solidFill>
                    <a:srgbClr val="FFFFFF"/>
                  </a:solidFill>
                  <a:latin typeface="Calibri"/>
                  <a:cs typeface="Calibri"/>
                </a:rPr>
                <a:t>to </a:t>
              </a:r>
              <a:r>
                <a:rPr sz="1550" dirty="0">
                  <a:solidFill>
                    <a:srgbClr val="FFFFFF"/>
                  </a:solidFill>
                  <a:latin typeface="Calibri"/>
                  <a:cs typeface="Calibri"/>
                </a:rPr>
                <a:t>answer</a:t>
              </a:r>
              <a:r>
                <a:rPr sz="1550" spc="60" dirty="0">
                  <a:solidFill>
                    <a:srgbClr val="FFFFFF"/>
                  </a:solidFill>
                  <a:latin typeface="Calibri"/>
                  <a:cs typeface="Calibri"/>
                </a:rPr>
                <a:t> </a:t>
              </a:r>
              <a:r>
                <a:rPr sz="1550" dirty="0">
                  <a:solidFill>
                    <a:srgbClr val="FFFFFF"/>
                  </a:solidFill>
                  <a:latin typeface="Calibri"/>
                  <a:cs typeface="Calibri"/>
                </a:rPr>
                <a:t>the</a:t>
              </a:r>
              <a:r>
                <a:rPr sz="1550" spc="140" dirty="0">
                  <a:solidFill>
                    <a:srgbClr val="FFFFFF"/>
                  </a:solidFill>
                  <a:latin typeface="Calibri"/>
                  <a:cs typeface="Calibri"/>
                </a:rPr>
                <a:t> </a:t>
              </a:r>
              <a:r>
                <a:rPr sz="1550" spc="-10" dirty="0">
                  <a:solidFill>
                    <a:srgbClr val="FFFFFF"/>
                  </a:solidFill>
                  <a:latin typeface="Calibri"/>
                  <a:cs typeface="Calibri"/>
                </a:rPr>
                <a:t>query.</a:t>
              </a:r>
              <a:endParaRPr sz="1550">
                <a:latin typeface="Calibri"/>
                <a:cs typeface="Calibri"/>
              </a:endParaRPr>
            </a:p>
          </p:txBody>
        </p:sp>
      </p:grpSp>
    </p:spTree>
    <p:extLst>
      <p:ext uri="{BB962C8B-B14F-4D97-AF65-F5344CB8AC3E}">
        <p14:creationId xmlns:p14="http://schemas.microsoft.com/office/powerpoint/2010/main" val="16364417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Platform Reference Architecture</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grpSp>
        <p:nvGrpSpPr>
          <p:cNvPr id="2" name="Group 1">
            <a:extLst>
              <a:ext uri="{FF2B5EF4-FFF2-40B4-BE49-F238E27FC236}">
                <a16:creationId xmlns:a16="http://schemas.microsoft.com/office/drawing/2014/main" id="{380C07B9-00F8-51A6-9890-4FA36C0EFAFC}"/>
              </a:ext>
            </a:extLst>
          </p:cNvPr>
          <p:cNvGrpSpPr/>
          <p:nvPr/>
        </p:nvGrpSpPr>
        <p:grpSpPr>
          <a:xfrm>
            <a:off x="142875" y="1066800"/>
            <a:ext cx="11915774" cy="4893627"/>
            <a:chOff x="142875" y="1019175"/>
            <a:chExt cx="11915774" cy="4893627"/>
          </a:xfrm>
        </p:grpSpPr>
        <p:sp>
          <p:nvSpPr>
            <p:cNvPr id="10" name="object 4">
              <a:extLst>
                <a:ext uri="{FF2B5EF4-FFF2-40B4-BE49-F238E27FC236}">
                  <a16:creationId xmlns:a16="http://schemas.microsoft.com/office/drawing/2014/main" id="{5A601D1A-AE0D-B93B-4723-34D7835EEA18}"/>
                </a:ext>
              </a:extLst>
            </p:cNvPr>
            <p:cNvSpPr txBox="1"/>
            <p:nvPr/>
          </p:nvSpPr>
          <p:spPr>
            <a:xfrm>
              <a:off x="5969380" y="5522277"/>
              <a:ext cx="5646420" cy="390525"/>
            </a:xfrm>
            <a:prstGeom prst="rect">
              <a:avLst/>
            </a:prstGeom>
          </p:spPr>
          <p:txBody>
            <a:bodyPr vert="horz" wrap="square" lIns="0" tIns="19685" rIns="0" bIns="0" rtlCol="0">
              <a:spAutoFit/>
            </a:bodyPr>
            <a:lstStyle/>
            <a:p>
              <a:pPr marL="38100" marR="30480">
                <a:lnSpc>
                  <a:spcPts val="1430"/>
                </a:lnSpc>
                <a:spcBef>
                  <a:spcPts val="155"/>
                </a:spcBef>
              </a:pPr>
              <a:r>
                <a:rPr sz="1200" dirty="0">
                  <a:latin typeface="Arial MT"/>
                  <a:cs typeface="Arial MT"/>
                </a:rPr>
                <a:t>*</a:t>
              </a:r>
              <a:r>
                <a:rPr sz="1200" spc="-40" dirty="0">
                  <a:latin typeface="Arial MT"/>
                  <a:cs typeface="Arial MT"/>
                </a:rPr>
                <a:t> </a:t>
              </a:r>
              <a:r>
                <a:rPr sz="1200" dirty="0">
                  <a:latin typeface="Arial MT"/>
                  <a:cs typeface="Arial MT"/>
                </a:rPr>
                <a:t>D.</a:t>
              </a:r>
              <a:r>
                <a:rPr sz="1200" spc="-30" dirty="0">
                  <a:latin typeface="Arial MT"/>
                  <a:cs typeface="Arial MT"/>
                </a:rPr>
                <a:t> </a:t>
              </a:r>
              <a:r>
                <a:rPr sz="1200" dirty="0">
                  <a:latin typeface="Arial MT"/>
                  <a:cs typeface="Arial MT"/>
                </a:rPr>
                <a:t>Biswas.</a:t>
              </a:r>
              <a:r>
                <a:rPr sz="1200" spc="-30" dirty="0">
                  <a:latin typeface="Arial MT"/>
                  <a:cs typeface="Arial MT"/>
                </a:rPr>
                <a:t> </a:t>
              </a:r>
              <a:r>
                <a:rPr sz="1200" dirty="0">
                  <a:latin typeface="Arial MT"/>
                  <a:cs typeface="Arial MT"/>
                </a:rPr>
                <a:t>Stateful</a:t>
              </a:r>
              <a:r>
                <a:rPr sz="1200" spc="-40" dirty="0">
                  <a:latin typeface="Arial MT"/>
                  <a:cs typeface="Arial MT"/>
                </a:rPr>
                <a:t> </a:t>
              </a:r>
              <a:r>
                <a:rPr sz="1200" dirty="0">
                  <a:latin typeface="Arial MT"/>
                  <a:cs typeface="Arial MT"/>
                </a:rPr>
                <a:t>Monitoring</a:t>
              </a:r>
              <a:r>
                <a:rPr sz="1200" spc="5" dirty="0">
                  <a:latin typeface="Arial MT"/>
                  <a:cs typeface="Arial MT"/>
                </a:rPr>
                <a:t> </a:t>
              </a:r>
              <a:r>
                <a:rPr sz="1200" dirty="0">
                  <a:latin typeface="Arial MT"/>
                  <a:cs typeface="Arial MT"/>
                </a:rPr>
                <a:t>and</a:t>
              </a:r>
              <a:r>
                <a:rPr sz="1200" spc="5" dirty="0">
                  <a:latin typeface="Arial MT"/>
                  <a:cs typeface="Arial MT"/>
                </a:rPr>
                <a:t> </a:t>
              </a:r>
              <a:r>
                <a:rPr sz="1200" dirty="0">
                  <a:latin typeface="Arial MT"/>
                  <a:cs typeface="Arial MT"/>
                </a:rPr>
                <a:t>Responsible</a:t>
              </a:r>
              <a:r>
                <a:rPr sz="1200" spc="5" dirty="0">
                  <a:latin typeface="Arial MT"/>
                  <a:cs typeface="Arial MT"/>
                </a:rPr>
                <a:t> </a:t>
              </a:r>
              <a:r>
                <a:rPr sz="1200" spc="-10" dirty="0">
                  <a:latin typeface="Arial MT"/>
                  <a:cs typeface="Arial MT"/>
                </a:rPr>
                <a:t>Deployment</a:t>
              </a:r>
              <a:r>
                <a:rPr sz="1200" spc="-30" dirty="0">
                  <a:latin typeface="Arial MT"/>
                  <a:cs typeface="Arial MT"/>
                </a:rPr>
                <a:t> </a:t>
              </a:r>
              <a:r>
                <a:rPr sz="1200" dirty="0">
                  <a:latin typeface="Arial MT"/>
                  <a:cs typeface="Arial MT"/>
                </a:rPr>
                <a:t>of</a:t>
              </a:r>
              <a:r>
                <a:rPr sz="1200" spc="-30" dirty="0">
                  <a:latin typeface="Arial MT"/>
                  <a:cs typeface="Arial MT"/>
                </a:rPr>
                <a:t> </a:t>
              </a:r>
              <a:r>
                <a:rPr sz="1200" dirty="0">
                  <a:latin typeface="Arial MT"/>
                  <a:cs typeface="Arial MT"/>
                </a:rPr>
                <a:t>AI</a:t>
              </a:r>
              <a:r>
                <a:rPr sz="1200" spc="-30" dirty="0">
                  <a:latin typeface="Arial MT"/>
                  <a:cs typeface="Arial MT"/>
                </a:rPr>
                <a:t> </a:t>
              </a:r>
              <a:r>
                <a:rPr sz="1200" dirty="0">
                  <a:latin typeface="Arial MT"/>
                  <a:cs typeface="Arial MT"/>
                </a:rPr>
                <a:t>Agents.</a:t>
              </a:r>
              <a:r>
                <a:rPr sz="1200" spc="-30" dirty="0">
                  <a:latin typeface="Arial MT"/>
                  <a:cs typeface="Arial MT"/>
                </a:rPr>
                <a:t> </a:t>
              </a:r>
              <a:r>
                <a:rPr sz="1200" spc="-20" dirty="0">
                  <a:latin typeface="Arial MT"/>
                  <a:cs typeface="Arial MT"/>
                </a:rPr>
                <a:t>17</a:t>
              </a:r>
              <a:r>
                <a:rPr sz="1200" spc="-30" baseline="24305" dirty="0">
                  <a:latin typeface="Arial MT"/>
                  <a:cs typeface="Arial MT"/>
                </a:rPr>
                <a:t>th </a:t>
              </a:r>
              <a:r>
                <a:rPr sz="1200" spc="-10" dirty="0">
                  <a:latin typeface="Arial MT"/>
                  <a:cs typeface="Arial MT"/>
                </a:rPr>
                <a:t>International</a:t>
              </a:r>
              <a:r>
                <a:rPr sz="1200" spc="-30" dirty="0">
                  <a:latin typeface="Arial MT"/>
                  <a:cs typeface="Arial MT"/>
                </a:rPr>
                <a:t> </a:t>
              </a:r>
              <a:r>
                <a:rPr sz="1200" dirty="0">
                  <a:latin typeface="Arial MT"/>
                  <a:cs typeface="Arial MT"/>
                </a:rPr>
                <a:t>Conference</a:t>
              </a:r>
              <a:r>
                <a:rPr sz="1200" spc="-50" dirty="0">
                  <a:latin typeface="Arial MT"/>
                  <a:cs typeface="Arial MT"/>
                </a:rPr>
                <a:t> </a:t>
              </a:r>
              <a:r>
                <a:rPr sz="1200" dirty="0">
                  <a:latin typeface="Arial MT"/>
                  <a:cs typeface="Arial MT"/>
                </a:rPr>
                <a:t>on</a:t>
              </a:r>
              <a:r>
                <a:rPr sz="1200" spc="-45" dirty="0">
                  <a:latin typeface="Arial MT"/>
                  <a:cs typeface="Arial MT"/>
                </a:rPr>
                <a:t> </a:t>
              </a:r>
              <a:r>
                <a:rPr sz="1200" dirty="0">
                  <a:latin typeface="Arial MT"/>
                  <a:cs typeface="Arial MT"/>
                </a:rPr>
                <a:t>Agents</a:t>
              </a:r>
              <a:r>
                <a:rPr sz="1200" spc="-55" dirty="0">
                  <a:latin typeface="Arial MT"/>
                  <a:cs typeface="Arial MT"/>
                </a:rPr>
                <a:t> </a:t>
              </a:r>
              <a:r>
                <a:rPr sz="1200" dirty="0">
                  <a:latin typeface="Arial MT"/>
                  <a:cs typeface="Arial MT"/>
                </a:rPr>
                <a:t>and</a:t>
              </a:r>
              <a:r>
                <a:rPr sz="1200" spc="-45" dirty="0">
                  <a:latin typeface="Arial MT"/>
                  <a:cs typeface="Arial MT"/>
                </a:rPr>
                <a:t> </a:t>
              </a:r>
              <a:r>
                <a:rPr sz="1200" dirty="0">
                  <a:latin typeface="Arial MT"/>
                  <a:cs typeface="Arial MT"/>
                </a:rPr>
                <a:t>Artificial</a:t>
              </a:r>
              <a:r>
                <a:rPr sz="1200" spc="-20" dirty="0">
                  <a:latin typeface="Arial MT"/>
                  <a:cs typeface="Arial MT"/>
                </a:rPr>
                <a:t> </a:t>
              </a:r>
              <a:r>
                <a:rPr sz="1200" spc="-10" dirty="0">
                  <a:latin typeface="Arial MT"/>
                  <a:cs typeface="Arial MT"/>
                </a:rPr>
                <a:t>Intelligence</a:t>
              </a:r>
              <a:r>
                <a:rPr sz="1200" spc="20" dirty="0">
                  <a:latin typeface="Arial MT"/>
                  <a:cs typeface="Arial MT"/>
                </a:rPr>
                <a:t> </a:t>
              </a:r>
              <a:r>
                <a:rPr sz="1200" dirty="0">
                  <a:latin typeface="Arial MT"/>
                  <a:cs typeface="Arial MT"/>
                </a:rPr>
                <a:t>(ICAART),</a:t>
              </a:r>
              <a:r>
                <a:rPr sz="1200" spc="-10" dirty="0">
                  <a:latin typeface="Arial MT"/>
                  <a:cs typeface="Arial MT"/>
                </a:rPr>
                <a:t> </a:t>
              </a:r>
              <a:r>
                <a:rPr sz="1200" dirty="0">
                  <a:latin typeface="Arial MT"/>
                  <a:cs typeface="Arial MT"/>
                </a:rPr>
                <a:t>2025</a:t>
              </a:r>
              <a:r>
                <a:rPr sz="1200" spc="-50" dirty="0">
                  <a:latin typeface="Arial MT"/>
                  <a:cs typeface="Arial MT"/>
                </a:rPr>
                <a:t> </a:t>
              </a:r>
              <a:r>
                <a:rPr sz="1200" dirty="0">
                  <a:latin typeface="Arial MT"/>
                  <a:cs typeface="Arial MT"/>
                </a:rPr>
                <a:t>(</a:t>
              </a:r>
              <a:r>
                <a:rPr sz="1200" u="sng" spc="-260" dirty="0">
                  <a:solidFill>
                    <a:srgbClr val="0462C1"/>
                  </a:solidFill>
                  <a:uFill>
                    <a:solidFill>
                      <a:srgbClr val="0462C1"/>
                    </a:solidFill>
                  </a:uFill>
                  <a:latin typeface="Arial MT"/>
                  <a:cs typeface="Arial MT"/>
                </a:rPr>
                <a:t> </a:t>
              </a:r>
              <a:r>
                <a:rPr sz="1200" u="sng" spc="-10" dirty="0">
                  <a:solidFill>
                    <a:srgbClr val="0462C1"/>
                  </a:solidFill>
                  <a:uFill>
                    <a:solidFill>
                      <a:srgbClr val="0462C1"/>
                    </a:solidFill>
                  </a:uFill>
                  <a:latin typeface="Arial MT"/>
                  <a:cs typeface="Arial MT"/>
                  <a:hlinkClick r:id="rId2"/>
                </a:rPr>
                <a:t>link</a:t>
              </a:r>
              <a:r>
                <a:rPr sz="1200" spc="-10" dirty="0">
                  <a:latin typeface="Arial MT"/>
                  <a:cs typeface="Arial MT"/>
                </a:rPr>
                <a:t>)</a:t>
              </a:r>
              <a:endParaRPr sz="1200">
                <a:latin typeface="Arial MT"/>
                <a:cs typeface="Arial MT"/>
              </a:endParaRPr>
            </a:p>
          </p:txBody>
        </p:sp>
        <p:pic>
          <p:nvPicPr>
            <p:cNvPr id="11" name="object 5">
              <a:extLst>
                <a:ext uri="{FF2B5EF4-FFF2-40B4-BE49-F238E27FC236}">
                  <a16:creationId xmlns:a16="http://schemas.microsoft.com/office/drawing/2014/main" id="{1603930F-057A-493E-8EB8-F55FA8BD841D}"/>
                </a:ext>
              </a:extLst>
            </p:cNvPr>
            <p:cNvPicPr/>
            <p:nvPr/>
          </p:nvPicPr>
          <p:blipFill>
            <a:blip r:embed="rId3" cstate="print"/>
            <a:stretch>
              <a:fillRect/>
            </a:stretch>
          </p:blipFill>
          <p:spPr>
            <a:xfrm>
              <a:off x="3585488" y="1019175"/>
              <a:ext cx="8473161" cy="4343400"/>
            </a:xfrm>
            <a:prstGeom prst="rect">
              <a:avLst/>
            </a:prstGeom>
          </p:spPr>
        </p:pic>
        <p:sp>
          <p:nvSpPr>
            <p:cNvPr id="12" name="object 6">
              <a:extLst>
                <a:ext uri="{FF2B5EF4-FFF2-40B4-BE49-F238E27FC236}">
                  <a16:creationId xmlns:a16="http://schemas.microsoft.com/office/drawing/2014/main" id="{9CA32649-A982-DD85-659B-57BB857C1DB3}"/>
                </a:ext>
              </a:extLst>
            </p:cNvPr>
            <p:cNvSpPr/>
            <p:nvPr/>
          </p:nvSpPr>
          <p:spPr>
            <a:xfrm>
              <a:off x="142875" y="2447925"/>
              <a:ext cx="3324225" cy="1552575"/>
            </a:xfrm>
            <a:custGeom>
              <a:avLst/>
              <a:gdLst/>
              <a:ahLst/>
              <a:cxnLst/>
              <a:rect l="l" t="t" r="r" b="b"/>
              <a:pathLst>
                <a:path w="3324225" h="1552575">
                  <a:moveTo>
                    <a:pt x="3324225" y="0"/>
                  </a:moveTo>
                  <a:lnTo>
                    <a:pt x="0" y="0"/>
                  </a:lnTo>
                  <a:lnTo>
                    <a:pt x="0" y="1552575"/>
                  </a:lnTo>
                  <a:lnTo>
                    <a:pt x="3100324" y="1538351"/>
                  </a:lnTo>
                  <a:lnTo>
                    <a:pt x="3324225" y="0"/>
                  </a:lnTo>
                  <a:close/>
                </a:path>
              </a:pathLst>
            </a:custGeom>
            <a:solidFill>
              <a:srgbClr val="002384"/>
            </a:solidFill>
          </p:spPr>
          <p:txBody>
            <a:bodyPr wrap="square" lIns="0" tIns="0" rIns="0" bIns="0" rtlCol="0"/>
            <a:lstStyle/>
            <a:p>
              <a:endParaRPr/>
            </a:p>
          </p:txBody>
        </p:sp>
        <p:sp>
          <p:nvSpPr>
            <p:cNvPr id="13" name="object 7">
              <a:extLst>
                <a:ext uri="{FF2B5EF4-FFF2-40B4-BE49-F238E27FC236}">
                  <a16:creationId xmlns:a16="http://schemas.microsoft.com/office/drawing/2014/main" id="{ECEC41C4-2958-6456-1C34-F4C769079E87}"/>
                </a:ext>
              </a:extLst>
            </p:cNvPr>
            <p:cNvSpPr txBox="1"/>
            <p:nvPr/>
          </p:nvSpPr>
          <p:spPr>
            <a:xfrm>
              <a:off x="347979" y="2541206"/>
              <a:ext cx="2750820" cy="1406525"/>
            </a:xfrm>
            <a:prstGeom prst="rect">
              <a:avLst/>
            </a:prstGeom>
          </p:spPr>
          <p:txBody>
            <a:bodyPr vert="horz" wrap="square" lIns="0" tIns="10795" rIns="0" bIns="0" rtlCol="0">
              <a:spAutoFit/>
            </a:bodyPr>
            <a:lstStyle/>
            <a:p>
              <a:pPr marL="12700" marR="5080">
                <a:lnSpc>
                  <a:spcPct val="100800"/>
                </a:lnSpc>
                <a:spcBef>
                  <a:spcPts val="85"/>
                </a:spcBef>
              </a:pPr>
              <a:r>
                <a:rPr sz="1800" dirty="0">
                  <a:solidFill>
                    <a:srgbClr val="FFFFFF"/>
                  </a:solidFill>
                  <a:latin typeface="Calibri"/>
                  <a:cs typeface="Calibri"/>
                </a:rPr>
                <a:t>The</a:t>
              </a:r>
              <a:r>
                <a:rPr sz="1800" spc="15" dirty="0">
                  <a:solidFill>
                    <a:srgbClr val="FFFFFF"/>
                  </a:solidFill>
                  <a:latin typeface="Calibri"/>
                  <a:cs typeface="Calibri"/>
                </a:rPr>
                <a:t> </a:t>
              </a:r>
              <a:r>
                <a:rPr sz="1800" dirty="0">
                  <a:solidFill>
                    <a:srgbClr val="FFFFFF"/>
                  </a:solidFill>
                  <a:latin typeface="Calibri"/>
                  <a:cs typeface="Calibri"/>
                </a:rPr>
                <a:t>future</a:t>
              </a:r>
              <a:r>
                <a:rPr sz="1800" spc="-50" dirty="0">
                  <a:solidFill>
                    <a:srgbClr val="FFFFFF"/>
                  </a:solidFill>
                  <a:latin typeface="Calibri"/>
                  <a:cs typeface="Calibri"/>
                </a:rPr>
                <a:t> </a:t>
              </a:r>
              <a:r>
                <a:rPr sz="1800" dirty="0">
                  <a:solidFill>
                    <a:srgbClr val="FFFFFF"/>
                  </a:solidFill>
                  <a:latin typeface="Calibri"/>
                  <a:cs typeface="Calibri"/>
                </a:rPr>
                <a:t>where</a:t>
              </a:r>
              <a:r>
                <a:rPr sz="1800" spc="-50" dirty="0">
                  <a:solidFill>
                    <a:srgbClr val="FFFFFF"/>
                  </a:solidFill>
                  <a:latin typeface="Calibri"/>
                  <a:cs typeface="Calibri"/>
                </a:rPr>
                <a:t> </a:t>
              </a:r>
              <a:r>
                <a:rPr sz="1800" spc="-10" dirty="0">
                  <a:solidFill>
                    <a:srgbClr val="FFFFFF"/>
                  </a:solidFill>
                  <a:latin typeface="Calibri"/>
                  <a:cs typeface="Calibri"/>
                </a:rPr>
                <a:t>enterprises </a:t>
              </a:r>
              <a:r>
                <a:rPr sz="1800" dirty="0">
                  <a:solidFill>
                    <a:srgbClr val="FFFFFF"/>
                  </a:solidFill>
                  <a:latin typeface="Calibri"/>
                  <a:cs typeface="Calibri"/>
                </a:rPr>
                <a:t>will</a:t>
              </a:r>
              <a:r>
                <a:rPr sz="1800" spc="-30" dirty="0">
                  <a:solidFill>
                    <a:srgbClr val="FFFFFF"/>
                  </a:solidFill>
                  <a:latin typeface="Calibri"/>
                  <a:cs typeface="Calibri"/>
                </a:rPr>
                <a:t> </a:t>
              </a:r>
              <a:r>
                <a:rPr sz="1800" dirty="0">
                  <a:solidFill>
                    <a:srgbClr val="FFFFFF"/>
                  </a:solidFill>
                  <a:latin typeface="Calibri"/>
                  <a:cs typeface="Calibri"/>
                </a:rPr>
                <a:t>be</a:t>
              </a:r>
              <a:r>
                <a:rPr sz="1800" spc="-50" dirty="0">
                  <a:solidFill>
                    <a:srgbClr val="FFFFFF"/>
                  </a:solidFill>
                  <a:latin typeface="Calibri"/>
                  <a:cs typeface="Calibri"/>
                </a:rPr>
                <a:t> </a:t>
              </a:r>
              <a:r>
                <a:rPr sz="1800" dirty="0">
                  <a:solidFill>
                    <a:srgbClr val="FFFFFF"/>
                  </a:solidFill>
                  <a:latin typeface="Calibri"/>
                  <a:cs typeface="Calibri"/>
                </a:rPr>
                <a:t>able</a:t>
              </a:r>
              <a:r>
                <a:rPr sz="1800" spc="10" dirty="0">
                  <a:solidFill>
                    <a:srgbClr val="FFFFFF"/>
                  </a:solidFill>
                  <a:latin typeface="Calibri"/>
                  <a:cs typeface="Calibri"/>
                </a:rPr>
                <a:t> </a:t>
              </a:r>
              <a:r>
                <a:rPr sz="1800" dirty="0">
                  <a:solidFill>
                    <a:srgbClr val="FFFFFF"/>
                  </a:solidFill>
                  <a:latin typeface="Calibri"/>
                  <a:cs typeface="Calibri"/>
                </a:rPr>
                <a:t>to</a:t>
              </a:r>
              <a:r>
                <a:rPr sz="1800" spc="-40" dirty="0">
                  <a:solidFill>
                    <a:srgbClr val="FFFFFF"/>
                  </a:solidFill>
                  <a:latin typeface="Calibri"/>
                  <a:cs typeface="Calibri"/>
                </a:rPr>
                <a:t> </a:t>
              </a:r>
              <a:r>
                <a:rPr sz="1800" dirty="0">
                  <a:solidFill>
                    <a:srgbClr val="FFFFFF"/>
                  </a:solidFill>
                  <a:latin typeface="Calibri"/>
                  <a:cs typeface="Calibri"/>
                </a:rPr>
                <a:t>develop</a:t>
              </a:r>
              <a:r>
                <a:rPr sz="1800" spc="35" dirty="0">
                  <a:solidFill>
                    <a:srgbClr val="FFFFFF"/>
                  </a:solidFill>
                  <a:latin typeface="Calibri"/>
                  <a:cs typeface="Calibri"/>
                </a:rPr>
                <a:t> </a:t>
              </a:r>
              <a:r>
                <a:rPr sz="1800" spc="-25" dirty="0">
                  <a:solidFill>
                    <a:srgbClr val="FFFFFF"/>
                  </a:solidFill>
                  <a:latin typeface="Calibri"/>
                  <a:cs typeface="Calibri"/>
                </a:rPr>
                <a:t>new </a:t>
              </a:r>
              <a:r>
                <a:rPr sz="1800" dirty="0">
                  <a:solidFill>
                    <a:srgbClr val="FFFFFF"/>
                  </a:solidFill>
                  <a:latin typeface="Calibri"/>
                  <a:cs typeface="Calibri"/>
                </a:rPr>
                <a:t>Enterprise</a:t>
              </a:r>
              <a:r>
                <a:rPr sz="1800" spc="-30" dirty="0">
                  <a:solidFill>
                    <a:srgbClr val="FFFFFF"/>
                  </a:solidFill>
                  <a:latin typeface="Calibri"/>
                  <a:cs typeface="Calibri"/>
                </a:rPr>
                <a:t> </a:t>
              </a:r>
              <a:r>
                <a:rPr sz="1800" dirty="0">
                  <a:solidFill>
                    <a:srgbClr val="FFFFFF"/>
                  </a:solidFill>
                  <a:latin typeface="Calibri"/>
                  <a:cs typeface="Calibri"/>
                </a:rPr>
                <a:t>AI</a:t>
              </a:r>
              <a:r>
                <a:rPr sz="1800" spc="-35" dirty="0">
                  <a:solidFill>
                    <a:srgbClr val="FFFFFF"/>
                  </a:solidFill>
                  <a:latin typeface="Calibri"/>
                  <a:cs typeface="Calibri"/>
                </a:rPr>
                <a:t> </a:t>
              </a:r>
              <a:r>
                <a:rPr sz="1800" dirty="0">
                  <a:solidFill>
                    <a:srgbClr val="FFFFFF"/>
                  </a:solidFill>
                  <a:latin typeface="Calibri"/>
                  <a:cs typeface="Calibri"/>
                </a:rPr>
                <a:t>Apps</a:t>
              </a:r>
              <a:r>
                <a:rPr sz="1800" spc="-65" dirty="0">
                  <a:solidFill>
                    <a:srgbClr val="FFFFFF"/>
                  </a:solidFill>
                  <a:latin typeface="Calibri"/>
                  <a:cs typeface="Calibri"/>
                </a:rPr>
                <a:t> </a:t>
              </a:r>
              <a:r>
                <a:rPr sz="1800" spc="-25" dirty="0">
                  <a:solidFill>
                    <a:srgbClr val="FFFFFF"/>
                  </a:solidFill>
                  <a:latin typeface="Calibri"/>
                  <a:cs typeface="Calibri"/>
                </a:rPr>
                <a:t>by </a:t>
              </a:r>
              <a:r>
                <a:rPr sz="1800" b="1" dirty="0">
                  <a:solidFill>
                    <a:srgbClr val="FFD966"/>
                  </a:solidFill>
                  <a:latin typeface="Calibri"/>
                  <a:cs typeface="Calibri"/>
                </a:rPr>
                <a:t>orchestrating</a:t>
              </a:r>
              <a:r>
                <a:rPr sz="1800" b="1" spc="-50" dirty="0">
                  <a:solidFill>
                    <a:srgbClr val="FFD966"/>
                  </a:solidFill>
                  <a:latin typeface="Calibri"/>
                  <a:cs typeface="Calibri"/>
                </a:rPr>
                <a:t> </a:t>
              </a:r>
              <a:r>
                <a:rPr sz="1800" b="1" dirty="0">
                  <a:solidFill>
                    <a:srgbClr val="FFD966"/>
                  </a:solidFill>
                  <a:latin typeface="Calibri"/>
                  <a:cs typeface="Calibri"/>
                </a:rPr>
                <a:t>/</a:t>
              </a:r>
              <a:r>
                <a:rPr sz="1800" b="1" spc="-45" dirty="0">
                  <a:solidFill>
                    <a:srgbClr val="FFD966"/>
                  </a:solidFill>
                  <a:latin typeface="Calibri"/>
                  <a:cs typeface="Calibri"/>
                </a:rPr>
                <a:t> </a:t>
              </a:r>
              <a:r>
                <a:rPr sz="1800" b="1" spc="-10" dirty="0">
                  <a:solidFill>
                    <a:srgbClr val="FFD966"/>
                  </a:solidFill>
                  <a:latin typeface="Calibri"/>
                  <a:cs typeface="Calibri"/>
                </a:rPr>
                <a:t>composing </a:t>
              </a:r>
              <a:r>
                <a:rPr sz="1800" dirty="0">
                  <a:solidFill>
                    <a:srgbClr val="FFFFFF"/>
                  </a:solidFill>
                  <a:latin typeface="Calibri"/>
                  <a:cs typeface="Calibri"/>
                </a:rPr>
                <a:t>multiple</a:t>
              </a:r>
              <a:r>
                <a:rPr sz="1800" spc="-5" dirty="0">
                  <a:solidFill>
                    <a:srgbClr val="FFFFFF"/>
                  </a:solidFill>
                  <a:latin typeface="Calibri"/>
                  <a:cs typeface="Calibri"/>
                </a:rPr>
                <a:t> </a:t>
              </a:r>
              <a:r>
                <a:rPr sz="1800" dirty="0">
                  <a:solidFill>
                    <a:srgbClr val="FFFFFF"/>
                  </a:solidFill>
                  <a:latin typeface="Calibri"/>
                  <a:cs typeface="Calibri"/>
                </a:rPr>
                <a:t>existing</a:t>
              </a:r>
              <a:r>
                <a:rPr sz="1800" spc="-20" dirty="0">
                  <a:solidFill>
                    <a:srgbClr val="FFFFFF"/>
                  </a:solidFill>
                  <a:latin typeface="Calibri"/>
                  <a:cs typeface="Calibri"/>
                </a:rPr>
                <a:t> </a:t>
              </a:r>
              <a:r>
                <a:rPr sz="1800" dirty="0">
                  <a:solidFill>
                    <a:srgbClr val="FFFFFF"/>
                  </a:solidFill>
                  <a:latin typeface="Calibri"/>
                  <a:cs typeface="Calibri"/>
                </a:rPr>
                <a:t>AI</a:t>
              </a:r>
              <a:r>
                <a:rPr sz="1800" spc="-75" dirty="0">
                  <a:solidFill>
                    <a:srgbClr val="FFFFFF"/>
                  </a:solidFill>
                  <a:latin typeface="Calibri"/>
                  <a:cs typeface="Calibri"/>
                </a:rPr>
                <a:t> </a:t>
              </a:r>
              <a:r>
                <a:rPr sz="1800" spc="-10" dirty="0">
                  <a:solidFill>
                    <a:srgbClr val="FFFFFF"/>
                  </a:solidFill>
                  <a:latin typeface="Calibri"/>
                  <a:cs typeface="Calibri"/>
                </a:rPr>
                <a:t>Agents.</a:t>
              </a:r>
              <a:endParaRPr sz="1800">
                <a:latin typeface="Calibri"/>
                <a:cs typeface="Calibri"/>
              </a:endParaRPr>
            </a:p>
          </p:txBody>
        </p:sp>
      </p:grpSp>
    </p:spTree>
    <p:extLst>
      <p:ext uri="{BB962C8B-B14F-4D97-AF65-F5344CB8AC3E}">
        <p14:creationId xmlns:p14="http://schemas.microsoft.com/office/powerpoint/2010/main" val="28193082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2">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3219450" y="1828800"/>
            <a:ext cx="5753100" cy="2938169"/>
            <a:chOff x="1732280" y="1455442"/>
            <a:chExt cx="8727440" cy="1977488"/>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2"/>
              <a:ext cx="8727440" cy="1883190"/>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1922066" y="1630776"/>
              <a:ext cx="8174476" cy="18021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Agentic AI Scenario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Arial"/>
                </a:rPr>
                <a:t>Agentic RA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Arial"/>
                </a:rPr>
                <a:t>Reinforc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n-ea"/>
                  <a:cs typeface="Arial"/>
                </a:rPr>
                <a:t>Learning Ag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Arial"/>
                <a:ea typeface="+mn-ea"/>
                <a:cs typeface="Arial"/>
              </a:endParaRPr>
            </a:p>
          </p:txBody>
        </p:sp>
      </p:grpSp>
    </p:spTree>
    <p:extLst>
      <p:ext uri="{BB962C8B-B14F-4D97-AF65-F5344CB8AC3E}">
        <p14:creationId xmlns:p14="http://schemas.microsoft.com/office/powerpoint/2010/main" val="30047747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RAGs: Extending RAGs to SQL Databases</a:t>
            </a:r>
          </a:p>
        </p:txBody>
      </p:sp>
      <p:sp>
        <p:nvSpPr>
          <p:cNvPr id="2" name="object 4">
            <a:extLst>
              <a:ext uri="{FF2B5EF4-FFF2-40B4-BE49-F238E27FC236}">
                <a16:creationId xmlns:a16="http://schemas.microsoft.com/office/drawing/2014/main" id="{D690B9CA-FEEE-5939-B495-59F71D3EDAE1}"/>
              </a:ext>
            </a:extLst>
          </p:cNvPr>
          <p:cNvSpPr/>
          <p:nvPr/>
        </p:nvSpPr>
        <p:spPr>
          <a:xfrm>
            <a:off x="265113" y="992188"/>
            <a:ext cx="4019550" cy="1314450"/>
          </a:xfrm>
          <a:custGeom>
            <a:avLst/>
            <a:gdLst/>
            <a:ahLst/>
            <a:cxnLst/>
            <a:rect l="l" t="t" r="r" b="b"/>
            <a:pathLst>
              <a:path w="4019550" h="1314450">
                <a:moveTo>
                  <a:pt x="4019550" y="0"/>
                </a:moveTo>
                <a:lnTo>
                  <a:pt x="0" y="0"/>
                </a:lnTo>
                <a:lnTo>
                  <a:pt x="0" y="1314450"/>
                </a:lnTo>
                <a:lnTo>
                  <a:pt x="3748786" y="1302512"/>
                </a:lnTo>
                <a:lnTo>
                  <a:pt x="4019550" y="0"/>
                </a:lnTo>
                <a:close/>
              </a:path>
            </a:pathLst>
          </a:custGeom>
          <a:solidFill>
            <a:srgbClr val="002384"/>
          </a:solidFill>
        </p:spPr>
        <p:txBody>
          <a:bodyPr wrap="square" lIns="0" tIns="0" rIns="0" bIns="0" rtlCol="0"/>
          <a:lstStyle/>
          <a:p>
            <a:endParaRPr/>
          </a:p>
        </p:txBody>
      </p:sp>
      <p:sp>
        <p:nvSpPr>
          <p:cNvPr id="8" name="object 5">
            <a:extLst>
              <a:ext uri="{FF2B5EF4-FFF2-40B4-BE49-F238E27FC236}">
                <a16:creationId xmlns:a16="http://schemas.microsoft.com/office/drawing/2014/main" id="{F4059E6D-A909-D1BC-8315-15956C7A9616}"/>
              </a:ext>
            </a:extLst>
          </p:cNvPr>
          <p:cNvSpPr txBox="1"/>
          <p:nvPr/>
        </p:nvSpPr>
        <p:spPr>
          <a:xfrm>
            <a:off x="8303578" y="5856605"/>
            <a:ext cx="3557270" cy="389890"/>
          </a:xfrm>
          <a:prstGeom prst="rect">
            <a:avLst/>
          </a:prstGeom>
        </p:spPr>
        <p:txBody>
          <a:bodyPr vert="horz" wrap="square" lIns="0" tIns="19685" rIns="0" bIns="0" rtlCol="0">
            <a:spAutoFit/>
          </a:bodyPr>
          <a:lstStyle/>
          <a:p>
            <a:pPr marL="12700" marR="5080">
              <a:lnSpc>
                <a:spcPts val="1430"/>
              </a:lnSpc>
              <a:spcBef>
                <a:spcPts val="155"/>
              </a:spcBef>
            </a:pPr>
            <a:r>
              <a:rPr sz="1200" dirty="0">
                <a:latin typeface="Arial MT"/>
                <a:cs typeface="Arial MT"/>
                <a:hlinkClick r:id="rId2"/>
              </a:rPr>
              <a:t>*</a:t>
            </a:r>
            <a:r>
              <a:rPr sz="1200" spc="-30" dirty="0">
                <a:latin typeface="Arial MT"/>
                <a:cs typeface="Arial MT"/>
                <a:hlinkClick r:id="rId2"/>
              </a:rPr>
              <a:t> </a:t>
            </a:r>
            <a:r>
              <a:rPr sz="1200" dirty="0">
                <a:latin typeface="Arial MT"/>
                <a:cs typeface="Arial MT"/>
                <a:hlinkClick r:id="rId2"/>
              </a:rPr>
              <a:t>D.</a:t>
            </a:r>
            <a:r>
              <a:rPr sz="1200" spc="-15" dirty="0">
                <a:latin typeface="Arial MT"/>
                <a:cs typeface="Arial MT"/>
                <a:hlinkClick r:id="rId2"/>
              </a:rPr>
              <a:t> </a:t>
            </a:r>
            <a:r>
              <a:rPr sz="1200" dirty="0">
                <a:latin typeface="Arial MT"/>
                <a:cs typeface="Arial MT"/>
                <a:hlinkClick r:id="rId2"/>
              </a:rPr>
              <a:t>Biswas.</a:t>
            </a:r>
            <a:r>
              <a:rPr sz="1200" spc="-15" dirty="0">
                <a:latin typeface="Arial MT"/>
                <a:cs typeface="Arial MT"/>
                <a:hlinkClick r:id="rId2"/>
              </a:rPr>
              <a:t> </a:t>
            </a:r>
            <a:r>
              <a:rPr sz="1200" dirty="0">
                <a:latin typeface="Arial MT"/>
                <a:cs typeface="Arial MT"/>
                <a:hlinkClick r:id="rId2"/>
              </a:rPr>
              <a:t>Agentic</a:t>
            </a:r>
            <a:r>
              <a:rPr sz="1200" spc="15" dirty="0">
                <a:latin typeface="Arial MT"/>
                <a:cs typeface="Arial MT"/>
                <a:hlinkClick r:id="rId2"/>
              </a:rPr>
              <a:t> </a:t>
            </a:r>
            <a:r>
              <a:rPr sz="1200" dirty="0">
                <a:latin typeface="Arial MT"/>
                <a:cs typeface="Arial MT"/>
                <a:hlinkClick r:id="rId2"/>
              </a:rPr>
              <a:t>RAGs:</a:t>
            </a:r>
            <a:r>
              <a:rPr sz="1200" spc="-5" dirty="0">
                <a:latin typeface="Arial MT"/>
                <a:cs typeface="Arial MT"/>
                <a:hlinkClick r:id="rId2"/>
              </a:rPr>
              <a:t> </a:t>
            </a:r>
            <a:r>
              <a:rPr sz="1200" dirty="0">
                <a:latin typeface="Arial MT"/>
                <a:cs typeface="Arial MT"/>
                <a:hlinkClick r:id="rId2"/>
              </a:rPr>
              <a:t>extending</a:t>
            </a:r>
            <a:r>
              <a:rPr sz="1200" spc="-10" dirty="0">
                <a:latin typeface="Arial MT"/>
                <a:cs typeface="Arial MT"/>
                <a:hlinkClick r:id="rId2"/>
              </a:rPr>
              <a:t> </a:t>
            </a:r>
            <a:r>
              <a:rPr sz="1200" dirty="0">
                <a:latin typeface="Arial MT"/>
                <a:cs typeface="Arial MT"/>
                <a:hlinkClick r:id="rId2"/>
              </a:rPr>
              <a:t>RAGs</a:t>
            </a:r>
            <a:r>
              <a:rPr sz="1200" spc="-50" dirty="0">
                <a:latin typeface="Arial MT"/>
                <a:cs typeface="Arial MT"/>
                <a:hlinkClick r:id="rId2"/>
              </a:rPr>
              <a:t> </a:t>
            </a:r>
            <a:r>
              <a:rPr sz="1200" dirty="0">
                <a:latin typeface="Arial MT"/>
                <a:cs typeface="Arial MT"/>
                <a:hlinkClick r:id="rId2"/>
              </a:rPr>
              <a:t>to</a:t>
            </a:r>
            <a:r>
              <a:rPr sz="1200" spc="-45" dirty="0">
                <a:latin typeface="Arial MT"/>
                <a:cs typeface="Arial MT"/>
                <a:hlinkClick r:id="rId2"/>
              </a:rPr>
              <a:t> </a:t>
            </a:r>
            <a:r>
              <a:rPr sz="1200" spc="-25" dirty="0">
                <a:latin typeface="Arial MT"/>
                <a:cs typeface="Arial MT"/>
                <a:hlinkClick r:id="rId2"/>
              </a:rPr>
              <a:t>SQL </a:t>
            </a:r>
            <a:r>
              <a:rPr sz="1200" dirty="0">
                <a:latin typeface="Arial MT"/>
                <a:cs typeface="Arial MT"/>
                <a:hlinkClick r:id="rId2"/>
              </a:rPr>
              <a:t>Databases.</a:t>
            </a:r>
            <a:r>
              <a:rPr sz="1200" spc="-40" dirty="0">
                <a:latin typeface="Arial MT"/>
                <a:cs typeface="Arial MT"/>
                <a:hlinkClick r:id="rId2"/>
              </a:rPr>
              <a:t> </a:t>
            </a:r>
            <a:r>
              <a:rPr sz="1200" dirty="0">
                <a:latin typeface="Arial MT"/>
                <a:cs typeface="Arial MT"/>
                <a:hlinkClick r:id="rId2"/>
              </a:rPr>
              <a:t>AI</a:t>
            </a:r>
            <a:r>
              <a:rPr sz="1200" spc="-40" dirty="0">
                <a:latin typeface="Arial MT"/>
                <a:cs typeface="Arial MT"/>
                <a:hlinkClick r:id="rId2"/>
              </a:rPr>
              <a:t> </a:t>
            </a:r>
            <a:r>
              <a:rPr sz="1200" dirty="0">
                <a:latin typeface="Arial MT"/>
                <a:cs typeface="Arial MT"/>
                <a:hlinkClick r:id="rId2"/>
              </a:rPr>
              <a:t>Advances,</a:t>
            </a:r>
            <a:r>
              <a:rPr sz="1200" spc="-35" dirty="0">
                <a:latin typeface="Arial MT"/>
                <a:cs typeface="Arial MT"/>
                <a:hlinkClick r:id="rId2"/>
              </a:rPr>
              <a:t> </a:t>
            </a:r>
            <a:r>
              <a:rPr sz="1200" dirty="0">
                <a:latin typeface="Arial MT"/>
                <a:cs typeface="Arial MT"/>
                <a:hlinkClick r:id="rId2"/>
              </a:rPr>
              <a:t>2024</a:t>
            </a:r>
            <a:r>
              <a:rPr sz="1200" spc="-5" dirty="0">
                <a:latin typeface="Arial MT"/>
                <a:cs typeface="Arial MT"/>
                <a:hlinkClick r:id="rId2"/>
              </a:rPr>
              <a:t> </a:t>
            </a:r>
            <a:r>
              <a:rPr sz="1200" spc="-10" dirty="0">
                <a:latin typeface="Arial MT"/>
                <a:cs typeface="Arial MT"/>
                <a:hlinkClick r:id="rId2"/>
              </a:rPr>
              <a:t>(</a:t>
            </a:r>
            <a:r>
              <a:rPr sz="1200" u="sng" spc="-10" dirty="0">
                <a:solidFill>
                  <a:srgbClr val="0462C1"/>
                </a:solidFill>
                <a:uFill>
                  <a:solidFill>
                    <a:srgbClr val="0462C1"/>
                  </a:solidFill>
                </a:uFill>
                <a:latin typeface="Arial MT"/>
                <a:cs typeface="Arial MT"/>
                <a:hlinkClick r:id="rId3"/>
              </a:rPr>
              <a:t>link</a:t>
            </a:r>
            <a:r>
              <a:rPr sz="1200" spc="-10" dirty="0">
                <a:latin typeface="Arial MT"/>
                <a:cs typeface="Arial MT"/>
                <a:hlinkClick r:id="rId2"/>
              </a:rPr>
              <a:t>)</a:t>
            </a:r>
            <a:endParaRPr sz="1200">
              <a:latin typeface="Arial MT"/>
              <a:cs typeface="Arial MT"/>
            </a:endParaRPr>
          </a:p>
        </p:txBody>
      </p:sp>
      <p:sp>
        <p:nvSpPr>
          <p:cNvPr id="9" name="object 6">
            <a:extLst>
              <a:ext uri="{FF2B5EF4-FFF2-40B4-BE49-F238E27FC236}">
                <a16:creationId xmlns:a16="http://schemas.microsoft.com/office/drawing/2014/main" id="{49E8D1D9-9210-698C-E024-3F227BD19E71}"/>
              </a:ext>
            </a:extLst>
          </p:cNvPr>
          <p:cNvSpPr/>
          <p:nvPr/>
        </p:nvSpPr>
        <p:spPr>
          <a:xfrm>
            <a:off x="255588" y="2401888"/>
            <a:ext cx="4029075" cy="2028825"/>
          </a:xfrm>
          <a:custGeom>
            <a:avLst/>
            <a:gdLst/>
            <a:ahLst/>
            <a:cxnLst/>
            <a:rect l="l" t="t" r="r" b="b"/>
            <a:pathLst>
              <a:path w="4029075" h="2028825">
                <a:moveTo>
                  <a:pt x="4029075" y="0"/>
                </a:moveTo>
                <a:lnTo>
                  <a:pt x="0" y="0"/>
                </a:lnTo>
                <a:lnTo>
                  <a:pt x="0" y="2028825"/>
                </a:lnTo>
                <a:lnTo>
                  <a:pt x="3757676" y="2010283"/>
                </a:lnTo>
                <a:lnTo>
                  <a:pt x="4029075" y="0"/>
                </a:lnTo>
                <a:close/>
              </a:path>
            </a:pathLst>
          </a:custGeom>
          <a:solidFill>
            <a:srgbClr val="002384"/>
          </a:solidFill>
        </p:spPr>
        <p:txBody>
          <a:bodyPr wrap="square" lIns="0" tIns="0" rIns="0" bIns="0" rtlCol="0"/>
          <a:lstStyle/>
          <a:p>
            <a:endParaRPr/>
          </a:p>
        </p:txBody>
      </p:sp>
      <p:sp>
        <p:nvSpPr>
          <p:cNvPr id="10" name="object 7">
            <a:extLst>
              <a:ext uri="{FF2B5EF4-FFF2-40B4-BE49-F238E27FC236}">
                <a16:creationId xmlns:a16="http://schemas.microsoft.com/office/drawing/2014/main" id="{71AA9994-5191-DD78-11AC-934328731FD5}"/>
              </a:ext>
            </a:extLst>
          </p:cNvPr>
          <p:cNvSpPr txBox="1"/>
          <p:nvPr/>
        </p:nvSpPr>
        <p:spPr>
          <a:xfrm>
            <a:off x="496570" y="1143000"/>
            <a:ext cx="3345815" cy="3052246"/>
          </a:xfrm>
          <a:prstGeom prst="rect">
            <a:avLst/>
          </a:prstGeom>
        </p:spPr>
        <p:txBody>
          <a:bodyPr vert="horz" wrap="square" lIns="0" tIns="10795" rIns="0" bIns="0" rtlCol="0">
            <a:spAutoFit/>
          </a:bodyPr>
          <a:lstStyle/>
          <a:p>
            <a:pPr marL="27940" marR="5080">
              <a:lnSpc>
                <a:spcPct val="100800"/>
              </a:lnSpc>
              <a:spcBef>
                <a:spcPts val="85"/>
              </a:spcBef>
            </a:pPr>
            <a:r>
              <a:rPr sz="1600" dirty="0">
                <a:solidFill>
                  <a:srgbClr val="FFFFFF"/>
                </a:solidFill>
                <a:latin typeface="Arial" panose="020B0604020202020204" pitchFamily="34" charset="0"/>
                <a:cs typeface="Arial" panose="020B0604020202020204" pitchFamily="34" charset="0"/>
              </a:rPr>
              <a:t>Agentic</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I</a:t>
            </a:r>
            <a:r>
              <a:rPr sz="1600" spc="-5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framework</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o</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build</a:t>
            </a:r>
            <a:r>
              <a:rPr sz="1600" spc="-25" dirty="0">
                <a:solidFill>
                  <a:srgbClr val="FFFFFF"/>
                </a:solidFill>
                <a:latin typeface="Arial" panose="020B0604020202020204" pitchFamily="34" charset="0"/>
                <a:cs typeface="Arial" panose="020B0604020202020204" pitchFamily="34" charset="0"/>
              </a:rPr>
              <a:t> RAG </a:t>
            </a:r>
            <a:r>
              <a:rPr sz="1600" dirty="0">
                <a:solidFill>
                  <a:srgbClr val="FFFFFF"/>
                </a:solidFill>
                <a:latin typeface="Arial" panose="020B0604020202020204" pitchFamily="34" charset="0"/>
                <a:cs typeface="Arial" panose="020B0604020202020204" pitchFamily="34" charset="0"/>
              </a:rPr>
              <a:t>pipelines</a:t>
            </a:r>
            <a:r>
              <a:rPr sz="1600" spc="-8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at</a:t>
            </a:r>
            <a:r>
              <a:rPr sz="1600" spc="-6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work</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seamlessly</a:t>
            </a:r>
            <a:r>
              <a:rPr sz="1600" spc="15" dirty="0">
                <a:solidFill>
                  <a:srgbClr val="FFFFFF"/>
                </a:solidFill>
                <a:latin typeface="Arial" panose="020B0604020202020204" pitchFamily="34" charset="0"/>
                <a:cs typeface="Arial" panose="020B0604020202020204" pitchFamily="34" charset="0"/>
              </a:rPr>
              <a:t> </a:t>
            </a:r>
            <a:r>
              <a:rPr sz="1600" spc="-20" dirty="0">
                <a:solidFill>
                  <a:srgbClr val="FFFFFF"/>
                </a:solidFill>
                <a:latin typeface="Arial" panose="020B0604020202020204" pitchFamily="34" charset="0"/>
                <a:cs typeface="Arial" panose="020B0604020202020204" pitchFamily="34" charset="0"/>
              </a:rPr>
              <a:t>over </a:t>
            </a:r>
            <a:r>
              <a:rPr sz="1600" b="1" dirty="0">
                <a:solidFill>
                  <a:srgbClr val="FFD966"/>
                </a:solidFill>
                <a:latin typeface="Arial" panose="020B0604020202020204" pitchFamily="34" charset="0"/>
                <a:cs typeface="Arial" panose="020B0604020202020204" pitchFamily="34" charset="0"/>
              </a:rPr>
              <a:t>both</a:t>
            </a:r>
            <a:r>
              <a:rPr sz="1600" b="1" spc="-70" dirty="0">
                <a:solidFill>
                  <a:srgbClr val="FFD966"/>
                </a:solidFill>
                <a:latin typeface="Arial" panose="020B0604020202020204" pitchFamily="34" charset="0"/>
                <a:cs typeface="Arial" panose="020B0604020202020204" pitchFamily="34" charset="0"/>
              </a:rPr>
              <a:t> </a:t>
            </a:r>
            <a:r>
              <a:rPr sz="1600" b="1" dirty="0">
                <a:solidFill>
                  <a:srgbClr val="FFD966"/>
                </a:solidFill>
                <a:latin typeface="Arial" panose="020B0604020202020204" pitchFamily="34" charset="0"/>
                <a:cs typeface="Arial" panose="020B0604020202020204" pitchFamily="34" charset="0"/>
              </a:rPr>
              <a:t>structured and </a:t>
            </a:r>
            <a:r>
              <a:rPr sz="1600" b="1" spc="-10" dirty="0">
                <a:solidFill>
                  <a:srgbClr val="FFD966"/>
                </a:solidFill>
                <a:latin typeface="Arial" panose="020B0604020202020204" pitchFamily="34" charset="0"/>
                <a:cs typeface="Arial" panose="020B0604020202020204" pitchFamily="34" charset="0"/>
              </a:rPr>
              <a:t>unstructured </a:t>
            </a:r>
            <a:r>
              <a:rPr sz="1600" dirty="0">
                <a:solidFill>
                  <a:srgbClr val="FFFFFF"/>
                </a:solidFill>
                <a:latin typeface="Arial" panose="020B0604020202020204" pitchFamily="34" charset="0"/>
                <a:cs typeface="Arial" panose="020B0604020202020204" pitchFamily="34" charset="0"/>
              </a:rPr>
              <a:t>data</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stored</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in</a:t>
            </a:r>
            <a:r>
              <a:rPr sz="1600" spc="-35"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Snowflake.</a:t>
            </a:r>
            <a:endParaRPr sz="1600" dirty="0">
              <a:latin typeface="Arial" panose="020B0604020202020204" pitchFamily="34" charset="0"/>
              <a:cs typeface="Arial" panose="020B0604020202020204" pitchFamily="34" charset="0"/>
            </a:endParaRPr>
          </a:p>
          <a:p>
            <a:pPr>
              <a:lnSpc>
                <a:spcPct val="100000"/>
              </a:lnSpc>
              <a:spcBef>
                <a:spcPts val="615"/>
              </a:spcBef>
            </a:pPr>
            <a:endParaRPr sz="1600" dirty="0">
              <a:latin typeface="Arial" panose="020B0604020202020204" pitchFamily="34" charset="0"/>
              <a:cs typeface="Arial" panose="020B0604020202020204" pitchFamily="34" charset="0"/>
            </a:endParaRPr>
          </a:p>
          <a:p>
            <a:pPr marL="12700" marR="75565">
              <a:lnSpc>
                <a:spcPct val="100099"/>
              </a:lnSpc>
            </a:pPr>
            <a:endParaRPr lang="en-US" sz="1600" dirty="0">
              <a:solidFill>
                <a:srgbClr val="FFFFFF"/>
              </a:solidFill>
              <a:latin typeface="Arial" panose="020B0604020202020204" pitchFamily="34" charset="0"/>
              <a:cs typeface="Arial" panose="020B0604020202020204" pitchFamily="34" charset="0"/>
            </a:endParaRPr>
          </a:p>
          <a:p>
            <a:pPr marL="12700" marR="75565">
              <a:lnSpc>
                <a:spcPct val="100099"/>
              </a:lnSpc>
            </a:pPr>
            <a:r>
              <a:rPr sz="1600" dirty="0">
                <a:solidFill>
                  <a:srgbClr val="FFFFFF"/>
                </a:solidFill>
                <a:latin typeface="Arial" panose="020B0604020202020204" pitchFamily="34" charset="0"/>
                <a:cs typeface="Arial" panose="020B0604020202020204" pitchFamily="34" charset="0"/>
              </a:rPr>
              <a:t>The</a:t>
            </a:r>
            <a:r>
              <a:rPr sz="1600" spc="2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SQL</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mp;</a:t>
            </a:r>
            <a:r>
              <a:rPr sz="1600" spc="-5"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Document</a:t>
            </a:r>
            <a:r>
              <a:rPr sz="1600" spc="-5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query</a:t>
            </a:r>
            <a:r>
              <a:rPr sz="1600" spc="-4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agents </a:t>
            </a:r>
            <a:r>
              <a:rPr sz="1600" dirty="0">
                <a:solidFill>
                  <a:srgbClr val="FFFFFF"/>
                </a:solidFill>
                <a:latin typeface="Arial" panose="020B0604020202020204" pitchFamily="34" charset="0"/>
                <a:cs typeface="Arial" panose="020B0604020202020204" pitchFamily="34" charset="0"/>
              </a:rPr>
              <a:t>leverage</a:t>
            </a:r>
            <a:r>
              <a:rPr sz="1600" spc="-5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e</a:t>
            </a:r>
            <a:r>
              <a:rPr sz="1600" spc="-5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respective</a:t>
            </a:r>
            <a:r>
              <a:rPr sz="1600" spc="10" dirty="0">
                <a:solidFill>
                  <a:srgbClr val="FFFFFF"/>
                </a:solidFill>
                <a:latin typeface="Arial" panose="020B0604020202020204" pitchFamily="34" charset="0"/>
                <a:cs typeface="Arial" panose="020B0604020202020204" pitchFamily="34" charset="0"/>
              </a:rPr>
              <a:t> </a:t>
            </a:r>
            <a:r>
              <a:rPr sz="1600" b="1" spc="-10" dirty="0">
                <a:solidFill>
                  <a:srgbClr val="FFD966"/>
                </a:solidFill>
                <a:latin typeface="Arial" panose="020B0604020202020204" pitchFamily="34" charset="0"/>
                <a:cs typeface="Arial" panose="020B0604020202020204" pitchFamily="34" charset="0"/>
              </a:rPr>
              <a:t>Snowflake </a:t>
            </a:r>
            <a:r>
              <a:rPr sz="1600" b="1" dirty="0">
                <a:solidFill>
                  <a:srgbClr val="FFD966"/>
                </a:solidFill>
                <a:latin typeface="Arial" panose="020B0604020202020204" pitchFamily="34" charset="0"/>
                <a:cs typeface="Arial" panose="020B0604020202020204" pitchFamily="34" charset="0"/>
              </a:rPr>
              <a:t>Cortex</a:t>
            </a:r>
            <a:r>
              <a:rPr sz="1600" b="1" spc="-25" dirty="0">
                <a:solidFill>
                  <a:srgbClr val="FFD966"/>
                </a:solidFill>
                <a:latin typeface="Arial" panose="020B0604020202020204" pitchFamily="34" charset="0"/>
                <a:cs typeface="Arial" panose="020B0604020202020204" pitchFamily="34" charset="0"/>
              </a:rPr>
              <a:t> </a:t>
            </a:r>
            <a:r>
              <a:rPr sz="1600" b="1" dirty="0">
                <a:solidFill>
                  <a:srgbClr val="FFD966"/>
                </a:solidFill>
                <a:latin typeface="Arial" panose="020B0604020202020204" pitchFamily="34" charset="0"/>
                <a:cs typeface="Arial" panose="020B0604020202020204" pitchFamily="34" charset="0"/>
              </a:rPr>
              <a:t>Analyst</a:t>
            </a:r>
            <a:r>
              <a:rPr sz="1600" b="1" spc="-40" dirty="0">
                <a:solidFill>
                  <a:srgbClr val="FFD966"/>
                </a:solidFill>
                <a:latin typeface="Arial" panose="020B0604020202020204" pitchFamily="34" charset="0"/>
                <a:cs typeface="Arial" panose="020B0604020202020204" pitchFamily="34" charset="0"/>
              </a:rPr>
              <a:t> </a:t>
            </a:r>
            <a:r>
              <a:rPr sz="1600" b="1" dirty="0">
                <a:solidFill>
                  <a:srgbClr val="FFD966"/>
                </a:solidFill>
                <a:latin typeface="Arial" panose="020B0604020202020204" pitchFamily="34" charset="0"/>
                <a:cs typeface="Arial" panose="020B0604020202020204" pitchFamily="34" charset="0"/>
              </a:rPr>
              <a:t>and</a:t>
            </a:r>
            <a:r>
              <a:rPr sz="1600" b="1" spc="-10" dirty="0">
                <a:solidFill>
                  <a:srgbClr val="FFD966"/>
                </a:solidFill>
                <a:latin typeface="Arial" panose="020B0604020202020204" pitchFamily="34" charset="0"/>
                <a:cs typeface="Arial" panose="020B0604020202020204" pitchFamily="34" charset="0"/>
              </a:rPr>
              <a:t> Search </a:t>
            </a:r>
            <a:r>
              <a:rPr sz="1600" dirty="0">
                <a:solidFill>
                  <a:srgbClr val="FFFFFF"/>
                </a:solidFill>
                <a:latin typeface="Arial" panose="020B0604020202020204" pitchFamily="34" charset="0"/>
                <a:cs typeface="Arial" panose="020B0604020202020204" pitchFamily="34" charset="0"/>
              </a:rPr>
              <a:t>components</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detailed</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earlier</a:t>
            </a:r>
            <a:r>
              <a:rPr sz="1600" spc="-30" dirty="0">
                <a:solidFill>
                  <a:srgbClr val="FFFFFF"/>
                </a:solidFill>
                <a:latin typeface="Arial" panose="020B0604020202020204" pitchFamily="34" charset="0"/>
                <a:cs typeface="Arial" panose="020B0604020202020204" pitchFamily="34" charset="0"/>
              </a:rPr>
              <a:t> </a:t>
            </a:r>
            <a:r>
              <a:rPr sz="1600" spc="-25" dirty="0">
                <a:solidFill>
                  <a:srgbClr val="FFFFFF"/>
                </a:solidFill>
                <a:latin typeface="Arial" panose="020B0604020202020204" pitchFamily="34" charset="0"/>
                <a:cs typeface="Arial" panose="020B0604020202020204" pitchFamily="34" charset="0"/>
              </a:rPr>
              <a:t>to </a:t>
            </a:r>
            <a:r>
              <a:rPr sz="1600" dirty="0">
                <a:solidFill>
                  <a:srgbClr val="FFFFFF"/>
                </a:solidFill>
                <a:latin typeface="Arial" panose="020B0604020202020204" pitchFamily="34" charset="0"/>
                <a:cs typeface="Arial" panose="020B0604020202020204" pitchFamily="34" charset="0"/>
              </a:rPr>
              <a:t>query</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e</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underlying</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SQL</a:t>
            </a:r>
            <a:r>
              <a:rPr sz="1600" spc="10" dirty="0">
                <a:solidFill>
                  <a:srgbClr val="FFFFFF"/>
                </a:solidFill>
                <a:latin typeface="Arial" panose="020B0604020202020204" pitchFamily="34" charset="0"/>
                <a:cs typeface="Arial" panose="020B0604020202020204" pitchFamily="34" charset="0"/>
              </a:rPr>
              <a:t> </a:t>
            </a:r>
            <a:r>
              <a:rPr sz="1600" spc="-25" dirty="0">
                <a:solidFill>
                  <a:srgbClr val="FFFFFF"/>
                </a:solidFill>
                <a:latin typeface="Arial" panose="020B0604020202020204" pitchFamily="34" charset="0"/>
                <a:cs typeface="Arial" panose="020B0604020202020204" pitchFamily="34" charset="0"/>
              </a:rPr>
              <a:t>and </a:t>
            </a:r>
            <a:r>
              <a:rPr sz="1600" dirty="0">
                <a:solidFill>
                  <a:srgbClr val="FFFFFF"/>
                </a:solidFill>
                <a:latin typeface="Arial" panose="020B0604020202020204" pitchFamily="34" charset="0"/>
                <a:cs typeface="Arial" panose="020B0604020202020204" pitchFamily="34" charset="0"/>
              </a:rPr>
              <a:t>Document</a:t>
            </a:r>
            <a:r>
              <a:rPr sz="1600" spc="-45"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repositories.</a:t>
            </a:r>
            <a:endParaRPr sz="1600" dirty="0">
              <a:latin typeface="Arial" panose="020B0604020202020204" pitchFamily="34" charset="0"/>
              <a:cs typeface="Arial" panose="020B0604020202020204" pitchFamily="34" charset="0"/>
            </a:endParaRPr>
          </a:p>
        </p:txBody>
      </p:sp>
      <p:pic>
        <p:nvPicPr>
          <p:cNvPr id="11" name="object 8">
            <a:extLst>
              <a:ext uri="{FF2B5EF4-FFF2-40B4-BE49-F238E27FC236}">
                <a16:creationId xmlns:a16="http://schemas.microsoft.com/office/drawing/2014/main" id="{9C2075F3-C0AA-3BD1-442B-983173BDE397}"/>
              </a:ext>
            </a:extLst>
          </p:cNvPr>
          <p:cNvPicPr/>
          <p:nvPr/>
        </p:nvPicPr>
        <p:blipFill>
          <a:blip r:embed="rId4" cstate="print"/>
          <a:stretch>
            <a:fillRect/>
          </a:stretch>
        </p:blipFill>
        <p:spPr>
          <a:xfrm>
            <a:off x="4398963" y="1020763"/>
            <a:ext cx="7678204" cy="4758071"/>
          </a:xfrm>
          <a:prstGeom prst="rect">
            <a:avLst/>
          </a:prstGeom>
        </p:spPr>
      </p:pic>
      <p:sp>
        <p:nvSpPr>
          <p:cNvPr id="12" name="object 9">
            <a:extLst>
              <a:ext uri="{FF2B5EF4-FFF2-40B4-BE49-F238E27FC236}">
                <a16:creationId xmlns:a16="http://schemas.microsoft.com/office/drawing/2014/main" id="{E75F63FE-644A-F43F-CC68-904EADA79015}"/>
              </a:ext>
            </a:extLst>
          </p:cNvPr>
          <p:cNvSpPr/>
          <p:nvPr/>
        </p:nvSpPr>
        <p:spPr>
          <a:xfrm>
            <a:off x="255588" y="4506913"/>
            <a:ext cx="4029075" cy="1628775"/>
          </a:xfrm>
          <a:custGeom>
            <a:avLst/>
            <a:gdLst/>
            <a:ahLst/>
            <a:cxnLst/>
            <a:rect l="l" t="t" r="r" b="b"/>
            <a:pathLst>
              <a:path w="4029075" h="1628775">
                <a:moveTo>
                  <a:pt x="4029075" y="0"/>
                </a:moveTo>
                <a:lnTo>
                  <a:pt x="0" y="0"/>
                </a:lnTo>
                <a:lnTo>
                  <a:pt x="0" y="1628775"/>
                </a:lnTo>
                <a:lnTo>
                  <a:pt x="3757676" y="1613903"/>
                </a:lnTo>
                <a:lnTo>
                  <a:pt x="4029075" y="0"/>
                </a:lnTo>
                <a:close/>
              </a:path>
            </a:pathLst>
          </a:custGeom>
          <a:solidFill>
            <a:srgbClr val="002384"/>
          </a:solidFill>
        </p:spPr>
        <p:txBody>
          <a:bodyPr wrap="square" lIns="0" tIns="0" rIns="0" bIns="0" rtlCol="0"/>
          <a:lstStyle/>
          <a:p>
            <a:endParaRPr/>
          </a:p>
        </p:txBody>
      </p:sp>
      <p:sp>
        <p:nvSpPr>
          <p:cNvPr id="13" name="object 10">
            <a:extLst>
              <a:ext uri="{FF2B5EF4-FFF2-40B4-BE49-F238E27FC236}">
                <a16:creationId xmlns:a16="http://schemas.microsoft.com/office/drawing/2014/main" id="{F326F329-9D8E-D2EA-38F9-4538DACE1ED8}"/>
              </a:ext>
            </a:extLst>
          </p:cNvPr>
          <p:cNvSpPr txBox="1"/>
          <p:nvPr/>
        </p:nvSpPr>
        <p:spPr>
          <a:xfrm>
            <a:off x="457200" y="4634611"/>
            <a:ext cx="3410585" cy="1238737"/>
          </a:xfrm>
          <a:prstGeom prst="rect">
            <a:avLst/>
          </a:prstGeom>
        </p:spPr>
        <p:txBody>
          <a:bodyPr vert="horz" wrap="square" lIns="0" tIns="10795" rIns="0" bIns="0" rtlCol="0">
            <a:spAutoFit/>
          </a:bodyPr>
          <a:lstStyle/>
          <a:p>
            <a:pPr marL="12700" marR="5080">
              <a:lnSpc>
                <a:spcPct val="100800"/>
              </a:lnSpc>
              <a:spcBef>
                <a:spcPts val="85"/>
              </a:spcBef>
            </a:pPr>
            <a:r>
              <a:rPr sz="1600" dirty="0">
                <a:solidFill>
                  <a:srgbClr val="FFFFFF"/>
                </a:solidFill>
                <a:latin typeface="Arial" panose="020B0604020202020204" pitchFamily="34" charset="0"/>
                <a:cs typeface="Arial" panose="020B0604020202020204" pitchFamily="34" charset="0"/>
              </a:rPr>
              <a:t>Finally,</a:t>
            </a:r>
            <a:r>
              <a:rPr sz="1600" spc="-5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o</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complete</a:t>
            </a:r>
            <a:r>
              <a:rPr sz="1600" spc="2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e</a:t>
            </a:r>
            <a:r>
              <a:rPr sz="1600" spc="-20" dirty="0">
                <a:solidFill>
                  <a:srgbClr val="FFFFFF"/>
                </a:solidFill>
                <a:latin typeface="Arial" panose="020B0604020202020204" pitchFamily="34" charset="0"/>
                <a:cs typeface="Arial" panose="020B0604020202020204" pitchFamily="34" charset="0"/>
              </a:rPr>
              <a:t> </a:t>
            </a:r>
            <a:r>
              <a:rPr sz="1600" b="1" spc="-25" dirty="0">
                <a:solidFill>
                  <a:srgbClr val="FFD966"/>
                </a:solidFill>
                <a:latin typeface="Arial" panose="020B0604020202020204" pitchFamily="34" charset="0"/>
                <a:cs typeface="Arial" panose="020B0604020202020204" pitchFamily="34" charset="0"/>
              </a:rPr>
              <a:t>RAG </a:t>
            </a:r>
            <a:r>
              <a:rPr sz="1600" b="1" dirty="0">
                <a:solidFill>
                  <a:srgbClr val="FFD966"/>
                </a:solidFill>
                <a:latin typeface="Arial" panose="020B0604020202020204" pitchFamily="34" charset="0"/>
                <a:cs typeface="Arial" panose="020B0604020202020204" pitchFamily="34" charset="0"/>
              </a:rPr>
              <a:t>pipeline</a:t>
            </a:r>
            <a:r>
              <a:rPr sz="1600" dirty="0">
                <a:solidFill>
                  <a:srgbClr val="FFFFFF"/>
                </a:solidFill>
                <a:latin typeface="Arial" panose="020B0604020202020204" pitchFamily="34" charset="0"/>
                <a:cs typeface="Arial" panose="020B0604020202020204" pitchFamily="34" charset="0"/>
              </a:rPr>
              <a:t>,</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e</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retrieved</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data</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is</a:t>
            </a:r>
            <a:r>
              <a:rPr sz="1600" spc="-95"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added </a:t>
            </a:r>
            <a:r>
              <a:rPr sz="1600" dirty="0">
                <a:solidFill>
                  <a:srgbClr val="FFFFFF"/>
                </a:solidFill>
                <a:latin typeface="Arial" panose="020B0604020202020204" pitchFamily="34" charset="0"/>
                <a:cs typeface="Arial" panose="020B0604020202020204" pitchFamily="34" charset="0"/>
              </a:rPr>
              <a:t>to</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he</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original</a:t>
            </a:r>
            <a:r>
              <a:rPr sz="1600" spc="38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prompt</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leading </a:t>
            </a:r>
            <a:r>
              <a:rPr sz="1600" dirty="0">
                <a:solidFill>
                  <a:srgbClr val="FFFFFF"/>
                </a:solidFill>
                <a:latin typeface="Arial" panose="020B0604020202020204" pitchFamily="34" charset="0"/>
                <a:cs typeface="Arial" panose="020B0604020202020204" pitchFamily="34" charset="0"/>
              </a:rPr>
              <a:t>the</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generation</a:t>
            </a:r>
            <a:r>
              <a:rPr sz="1600" spc="-2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of</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a:t>
            </a:r>
            <a:r>
              <a:rPr sz="1600" spc="-10" dirty="0">
                <a:solidFill>
                  <a:srgbClr val="FFFFFF"/>
                </a:solidFill>
                <a:latin typeface="Arial" panose="020B0604020202020204" pitchFamily="34" charset="0"/>
                <a:cs typeface="Arial" panose="020B0604020202020204" pitchFamily="34" charset="0"/>
              </a:rPr>
              <a:t> contextualized response.</a:t>
            </a:r>
            <a:endParaRPr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64517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inforcement Learning Agents</a:t>
            </a:r>
          </a:p>
        </p:txBody>
      </p:sp>
      <p:sp>
        <p:nvSpPr>
          <p:cNvPr id="4" name="object 4">
            <a:extLst>
              <a:ext uri="{FF2B5EF4-FFF2-40B4-BE49-F238E27FC236}">
                <a16:creationId xmlns:a16="http://schemas.microsoft.com/office/drawing/2014/main" id="{DA62B013-6F4D-0D06-3C52-D399672C99E9}"/>
              </a:ext>
            </a:extLst>
          </p:cNvPr>
          <p:cNvSpPr/>
          <p:nvPr/>
        </p:nvSpPr>
        <p:spPr>
          <a:xfrm>
            <a:off x="247650" y="1347238"/>
            <a:ext cx="3676650" cy="2028825"/>
          </a:xfrm>
          <a:custGeom>
            <a:avLst/>
            <a:gdLst/>
            <a:ahLst/>
            <a:cxnLst/>
            <a:rect l="l" t="t" r="r" b="b"/>
            <a:pathLst>
              <a:path w="3676650" h="2028825">
                <a:moveTo>
                  <a:pt x="3676650" y="0"/>
                </a:moveTo>
                <a:lnTo>
                  <a:pt x="0" y="0"/>
                </a:lnTo>
                <a:lnTo>
                  <a:pt x="0" y="2028825"/>
                </a:lnTo>
                <a:lnTo>
                  <a:pt x="3429000" y="2010283"/>
                </a:lnTo>
                <a:lnTo>
                  <a:pt x="3676650" y="0"/>
                </a:lnTo>
                <a:close/>
              </a:path>
            </a:pathLst>
          </a:custGeom>
          <a:solidFill>
            <a:srgbClr val="002384"/>
          </a:solidFill>
        </p:spPr>
        <p:txBody>
          <a:bodyPr wrap="square" lIns="0" tIns="0" rIns="0" bIns="0" rtlCol="0"/>
          <a:lstStyle/>
          <a:p>
            <a:endParaRPr/>
          </a:p>
        </p:txBody>
      </p:sp>
      <p:pic>
        <p:nvPicPr>
          <p:cNvPr id="5" name="object 5">
            <a:extLst>
              <a:ext uri="{FF2B5EF4-FFF2-40B4-BE49-F238E27FC236}">
                <a16:creationId xmlns:a16="http://schemas.microsoft.com/office/drawing/2014/main" id="{F836D81D-74E1-65B7-F495-4970C8462692}"/>
              </a:ext>
            </a:extLst>
          </p:cNvPr>
          <p:cNvPicPr/>
          <p:nvPr/>
        </p:nvPicPr>
        <p:blipFill>
          <a:blip r:embed="rId2" cstate="print"/>
          <a:stretch>
            <a:fillRect/>
          </a:stretch>
        </p:blipFill>
        <p:spPr>
          <a:xfrm>
            <a:off x="4251666" y="1652396"/>
            <a:ext cx="7743015" cy="3472735"/>
          </a:xfrm>
          <a:prstGeom prst="rect">
            <a:avLst/>
          </a:prstGeom>
        </p:spPr>
      </p:pic>
      <p:sp>
        <p:nvSpPr>
          <p:cNvPr id="6" name="object 6">
            <a:extLst>
              <a:ext uri="{FF2B5EF4-FFF2-40B4-BE49-F238E27FC236}">
                <a16:creationId xmlns:a16="http://schemas.microsoft.com/office/drawing/2014/main" id="{24AA8392-A50F-DCDB-D402-50EC89758AA3}"/>
              </a:ext>
            </a:extLst>
          </p:cNvPr>
          <p:cNvSpPr/>
          <p:nvPr/>
        </p:nvSpPr>
        <p:spPr>
          <a:xfrm>
            <a:off x="247650" y="3543300"/>
            <a:ext cx="3676650" cy="1952625"/>
          </a:xfrm>
          <a:custGeom>
            <a:avLst/>
            <a:gdLst/>
            <a:ahLst/>
            <a:cxnLst/>
            <a:rect l="l" t="t" r="r" b="b"/>
            <a:pathLst>
              <a:path w="3676650" h="1952625">
                <a:moveTo>
                  <a:pt x="3676650" y="0"/>
                </a:moveTo>
                <a:lnTo>
                  <a:pt x="0" y="0"/>
                </a:lnTo>
                <a:lnTo>
                  <a:pt x="0" y="1952625"/>
                </a:lnTo>
                <a:lnTo>
                  <a:pt x="3429000" y="1934845"/>
                </a:lnTo>
                <a:lnTo>
                  <a:pt x="3676650" y="0"/>
                </a:lnTo>
                <a:close/>
              </a:path>
            </a:pathLst>
          </a:custGeom>
          <a:solidFill>
            <a:srgbClr val="002384"/>
          </a:solidFill>
        </p:spPr>
        <p:txBody>
          <a:bodyPr wrap="square" lIns="0" tIns="0" rIns="0" bIns="0" rtlCol="0"/>
          <a:lstStyle/>
          <a:p>
            <a:endParaRPr/>
          </a:p>
        </p:txBody>
      </p:sp>
      <p:sp>
        <p:nvSpPr>
          <p:cNvPr id="7" name="object 7">
            <a:extLst>
              <a:ext uri="{FF2B5EF4-FFF2-40B4-BE49-F238E27FC236}">
                <a16:creationId xmlns:a16="http://schemas.microsoft.com/office/drawing/2014/main" id="{D38A1AED-301B-5C7B-6FEB-CC89D4A9F08F}"/>
              </a:ext>
            </a:extLst>
          </p:cNvPr>
          <p:cNvSpPr txBox="1"/>
          <p:nvPr/>
        </p:nvSpPr>
        <p:spPr>
          <a:xfrm>
            <a:off x="457200" y="1605523"/>
            <a:ext cx="3058795" cy="3703578"/>
          </a:xfrm>
          <a:prstGeom prst="rect">
            <a:avLst/>
          </a:prstGeom>
        </p:spPr>
        <p:txBody>
          <a:bodyPr vert="horz" wrap="square" lIns="0" tIns="12700" rIns="0" bIns="0" rtlCol="0">
            <a:spAutoFit/>
          </a:bodyPr>
          <a:lstStyle/>
          <a:p>
            <a:pPr marL="12700" marR="5080">
              <a:lnSpc>
                <a:spcPct val="100099"/>
              </a:lnSpc>
              <a:spcBef>
                <a:spcPts val="100"/>
              </a:spcBef>
            </a:pPr>
            <a:r>
              <a:rPr sz="1600" dirty="0">
                <a:solidFill>
                  <a:srgbClr val="FFFFFF"/>
                </a:solidFill>
                <a:latin typeface="Arial" panose="020B0604020202020204" pitchFamily="34" charset="0"/>
                <a:cs typeface="Arial" panose="020B0604020202020204" pitchFamily="34" charset="0"/>
              </a:rPr>
              <a:t>When</a:t>
            </a:r>
            <a:r>
              <a:rPr sz="1600" spc="-2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we</a:t>
            </a:r>
            <a:r>
              <a:rPr sz="1600" spc="2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alk</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bout</a:t>
            </a:r>
            <a:r>
              <a:rPr sz="1600" spc="-5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I</a:t>
            </a:r>
            <a:r>
              <a:rPr sz="1600" spc="2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agents </a:t>
            </a:r>
            <a:r>
              <a:rPr sz="1600" dirty="0">
                <a:solidFill>
                  <a:srgbClr val="FFFFFF"/>
                </a:solidFill>
                <a:latin typeface="Arial" panose="020B0604020202020204" pitchFamily="34" charset="0"/>
                <a:cs typeface="Arial" panose="020B0604020202020204" pitchFamily="34" charset="0"/>
              </a:rPr>
              <a:t>today,</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we</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mostly</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alk</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bout</a:t>
            </a:r>
            <a:r>
              <a:rPr sz="1600" spc="-5" dirty="0">
                <a:solidFill>
                  <a:srgbClr val="FFFFFF"/>
                </a:solidFill>
                <a:latin typeface="Arial" panose="020B0604020202020204" pitchFamily="34" charset="0"/>
                <a:cs typeface="Arial" panose="020B0604020202020204" pitchFamily="34" charset="0"/>
              </a:rPr>
              <a:t> </a:t>
            </a:r>
            <a:r>
              <a:rPr sz="1600" b="1" spc="-25" dirty="0">
                <a:solidFill>
                  <a:srgbClr val="FFD966"/>
                </a:solidFill>
                <a:latin typeface="Arial" panose="020B0604020202020204" pitchFamily="34" charset="0"/>
                <a:cs typeface="Arial" panose="020B0604020202020204" pitchFamily="34" charset="0"/>
              </a:rPr>
              <a:t>LLM </a:t>
            </a:r>
            <a:r>
              <a:rPr sz="1600" b="1" dirty="0">
                <a:solidFill>
                  <a:srgbClr val="FFD966"/>
                </a:solidFill>
                <a:latin typeface="Arial" panose="020B0604020202020204" pitchFamily="34" charset="0"/>
                <a:cs typeface="Arial" panose="020B0604020202020204" pitchFamily="34" charset="0"/>
              </a:rPr>
              <a:t>agents</a:t>
            </a:r>
            <a:r>
              <a:rPr sz="1600" dirty="0">
                <a:solidFill>
                  <a:srgbClr val="FFFFFF"/>
                </a:solidFill>
                <a:latin typeface="Arial" panose="020B0604020202020204" pitchFamily="34" charset="0"/>
                <a:cs typeface="Arial" panose="020B0604020202020204" pitchFamily="34" charset="0"/>
              </a:rPr>
              <a:t>, which</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loosely</a:t>
            </a:r>
            <a:r>
              <a:rPr sz="1600" spc="-6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translates </a:t>
            </a:r>
            <a:r>
              <a:rPr sz="1600" dirty="0">
                <a:solidFill>
                  <a:srgbClr val="FFFFFF"/>
                </a:solidFill>
                <a:latin typeface="Arial" panose="020B0604020202020204" pitchFamily="34" charset="0"/>
                <a:cs typeface="Arial" panose="020B0604020202020204" pitchFamily="34" charset="0"/>
              </a:rPr>
              <a:t>to</a:t>
            </a:r>
            <a:r>
              <a:rPr sz="1600" spc="-6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invoking</a:t>
            </a:r>
            <a:r>
              <a:rPr sz="1600" spc="-2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prompting)</a:t>
            </a:r>
            <a:r>
              <a:rPr sz="1600" spc="-3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n</a:t>
            </a:r>
            <a:r>
              <a:rPr sz="1600" spc="20" dirty="0">
                <a:solidFill>
                  <a:srgbClr val="FFFFFF"/>
                </a:solidFill>
                <a:latin typeface="Arial" panose="020B0604020202020204" pitchFamily="34" charset="0"/>
                <a:cs typeface="Arial" panose="020B0604020202020204" pitchFamily="34" charset="0"/>
              </a:rPr>
              <a:t> </a:t>
            </a:r>
            <a:r>
              <a:rPr sz="1600" spc="-25" dirty="0">
                <a:solidFill>
                  <a:srgbClr val="FFFFFF"/>
                </a:solidFill>
                <a:latin typeface="Arial" panose="020B0604020202020204" pitchFamily="34" charset="0"/>
                <a:cs typeface="Arial" panose="020B0604020202020204" pitchFamily="34" charset="0"/>
              </a:rPr>
              <a:t>LLM </a:t>
            </a:r>
            <a:r>
              <a:rPr sz="1600" dirty="0">
                <a:solidFill>
                  <a:srgbClr val="FFFFFF"/>
                </a:solidFill>
                <a:latin typeface="Arial" panose="020B0604020202020204" pitchFamily="34" charset="0"/>
                <a:cs typeface="Arial" panose="020B0604020202020204" pitchFamily="34" charset="0"/>
              </a:rPr>
              <a:t>to</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perform</a:t>
            </a:r>
            <a:r>
              <a:rPr sz="1600" spc="-5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natural </a:t>
            </a:r>
            <a:r>
              <a:rPr sz="1600" spc="-10" dirty="0">
                <a:solidFill>
                  <a:srgbClr val="FFFFFF"/>
                </a:solidFill>
                <a:latin typeface="Arial" panose="020B0604020202020204" pitchFamily="34" charset="0"/>
                <a:cs typeface="Arial" panose="020B0604020202020204" pitchFamily="34" charset="0"/>
              </a:rPr>
              <a:t>language </a:t>
            </a:r>
            <a:r>
              <a:rPr sz="1600" dirty="0">
                <a:solidFill>
                  <a:srgbClr val="FFFFFF"/>
                </a:solidFill>
                <a:latin typeface="Arial" panose="020B0604020202020204" pitchFamily="34" charset="0"/>
                <a:cs typeface="Arial" panose="020B0604020202020204" pitchFamily="34" charset="0"/>
              </a:rPr>
              <a:t>processing</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NLP)</a:t>
            </a:r>
            <a:r>
              <a:rPr sz="1600" spc="-35" dirty="0">
                <a:solidFill>
                  <a:srgbClr val="FFFFFF"/>
                </a:solidFill>
                <a:latin typeface="Arial" panose="020B0604020202020204" pitchFamily="34" charset="0"/>
                <a:cs typeface="Arial" panose="020B0604020202020204" pitchFamily="34" charset="0"/>
              </a:rPr>
              <a:t> </a:t>
            </a:r>
            <a:r>
              <a:rPr sz="1600" spc="-20" dirty="0">
                <a:solidFill>
                  <a:srgbClr val="FFFFFF"/>
                </a:solidFill>
                <a:latin typeface="Arial" panose="020B0604020202020204" pitchFamily="34" charset="0"/>
                <a:cs typeface="Arial" panose="020B0604020202020204" pitchFamily="34" charset="0"/>
              </a:rPr>
              <a:t>tasks</a:t>
            </a:r>
            <a:endParaRPr sz="1600" dirty="0">
              <a:latin typeface="Arial" panose="020B0604020202020204" pitchFamily="34" charset="0"/>
              <a:cs typeface="Arial" panose="020B0604020202020204" pitchFamily="34" charset="0"/>
            </a:endParaRPr>
          </a:p>
          <a:p>
            <a:pPr>
              <a:lnSpc>
                <a:spcPct val="100000"/>
              </a:lnSpc>
              <a:spcBef>
                <a:spcPts val="1945"/>
              </a:spcBef>
            </a:pPr>
            <a:endParaRPr lang="en-US" sz="1600" dirty="0">
              <a:latin typeface="Arial" panose="020B0604020202020204" pitchFamily="34" charset="0"/>
              <a:cs typeface="Arial" panose="020B0604020202020204" pitchFamily="34" charset="0"/>
            </a:endParaRPr>
          </a:p>
          <a:p>
            <a:pPr marL="12700" marR="43815">
              <a:lnSpc>
                <a:spcPct val="100099"/>
              </a:lnSpc>
            </a:pPr>
            <a:endParaRPr lang="en-US" sz="1600" dirty="0">
              <a:solidFill>
                <a:srgbClr val="FFFFFF"/>
              </a:solidFill>
              <a:latin typeface="Arial" panose="020B0604020202020204" pitchFamily="34" charset="0"/>
              <a:cs typeface="Arial" panose="020B0604020202020204" pitchFamily="34" charset="0"/>
            </a:endParaRPr>
          </a:p>
          <a:p>
            <a:pPr marL="12700" marR="43815">
              <a:lnSpc>
                <a:spcPct val="100099"/>
              </a:lnSpc>
            </a:pPr>
            <a:r>
              <a:rPr sz="1600" dirty="0">
                <a:solidFill>
                  <a:srgbClr val="FFFFFF"/>
                </a:solidFill>
                <a:latin typeface="Arial" panose="020B0604020202020204" pitchFamily="34" charset="0"/>
                <a:cs typeface="Arial" panose="020B0604020202020204" pitchFamily="34" charset="0"/>
              </a:rPr>
              <a:t>Some</a:t>
            </a:r>
            <a:r>
              <a:rPr sz="1600" spc="-4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gentic tasks</a:t>
            </a:r>
            <a:r>
              <a:rPr sz="1600" spc="-20"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might</a:t>
            </a:r>
            <a:r>
              <a:rPr sz="1600" spc="-70" dirty="0">
                <a:solidFill>
                  <a:srgbClr val="FFFFFF"/>
                </a:solidFill>
                <a:latin typeface="Arial" panose="020B0604020202020204" pitchFamily="34" charset="0"/>
                <a:cs typeface="Arial" panose="020B0604020202020204" pitchFamily="34" charset="0"/>
              </a:rPr>
              <a:t> </a:t>
            </a:r>
            <a:r>
              <a:rPr sz="1600" spc="-25" dirty="0">
                <a:solidFill>
                  <a:srgbClr val="FFFFFF"/>
                </a:solidFill>
                <a:latin typeface="Arial" panose="020B0604020202020204" pitchFamily="34" charset="0"/>
                <a:cs typeface="Arial" panose="020B0604020202020204" pitchFamily="34" charset="0"/>
              </a:rPr>
              <a:t>be </a:t>
            </a:r>
            <a:r>
              <a:rPr sz="1600" dirty="0">
                <a:solidFill>
                  <a:srgbClr val="FFFFFF"/>
                </a:solidFill>
                <a:latin typeface="Arial" panose="020B0604020202020204" pitchFamily="34" charset="0"/>
                <a:cs typeface="Arial" panose="020B0604020202020204" pitchFamily="34" charset="0"/>
              </a:rPr>
              <a:t>better</a:t>
            </a:r>
            <a:r>
              <a:rPr sz="1600" spc="1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suited</a:t>
            </a:r>
            <a:r>
              <a:rPr sz="1600" spc="-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to</a:t>
            </a:r>
            <a:r>
              <a:rPr sz="1600" spc="-1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other</a:t>
            </a:r>
            <a:r>
              <a:rPr sz="1600" spc="20" dirty="0">
                <a:solidFill>
                  <a:srgbClr val="FFFFFF"/>
                </a:solidFill>
                <a:latin typeface="Arial" panose="020B0604020202020204" pitchFamily="34" charset="0"/>
                <a:cs typeface="Arial" panose="020B0604020202020204" pitchFamily="34" charset="0"/>
              </a:rPr>
              <a:t> </a:t>
            </a:r>
            <a:r>
              <a:rPr sz="1600" spc="-25" dirty="0">
                <a:solidFill>
                  <a:srgbClr val="FFFFFF"/>
                </a:solidFill>
                <a:latin typeface="Arial" panose="020B0604020202020204" pitchFamily="34" charset="0"/>
                <a:cs typeface="Arial" panose="020B0604020202020204" pitchFamily="34" charset="0"/>
              </a:rPr>
              <a:t>ML </a:t>
            </a:r>
            <a:r>
              <a:rPr sz="1600" dirty="0">
                <a:solidFill>
                  <a:srgbClr val="FFFFFF"/>
                </a:solidFill>
                <a:latin typeface="Arial" panose="020B0604020202020204" pitchFamily="34" charset="0"/>
                <a:cs typeface="Arial" panose="020B0604020202020204" pitchFamily="34" charset="0"/>
              </a:rPr>
              <a:t>techniques,</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e.g.,</a:t>
            </a:r>
            <a:r>
              <a:rPr sz="1600" spc="-15" dirty="0">
                <a:solidFill>
                  <a:srgbClr val="FFFFFF"/>
                </a:solidFill>
                <a:latin typeface="Arial" panose="020B0604020202020204" pitchFamily="34" charset="0"/>
                <a:cs typeface="Arial" panose="020B0604020202020204" pitchFamily="34" charset="0"/>
              </a:rPr>
              <a:t> </a:t>
            </a:r>
            <a:r>
              <a:rPr sz="1600" b="1" spc="-10" dirty="0">
                <a:solidFill>
                  <a:srgbClr val="FFD966"/>
                </a:solidFill>
                <a:latin typeface="Arial" panose="020B0604020202020204" pitchFamily="34" charset="0"/>
                <a:cs typeface="Arial" panose="020B0604020202020204" pitchFamily="34" charset="0"/>
              </a:rPr>
              <a:t>Reinforcement </a:t>
            </a:r>
            <a:r>
              <a:rPr sz="1600" b="1" dirty="0">
                <a:solidFill>
                  <a:srgbClr val="FFD966"/>
                </a:solidFill>
                <a:latin typeface="Arial" panose="020B0604020202020204" pitchFamily="34" charset="0"/>
                <a:cs typeface="Arial" panose="020B0604020202020204" pitchFamily="34" charset="0"/>
              </a:rPr>
              <a:t>Learning</a:t>
            </a:r>
            <a:r>
              <a:rPr sz="1600" b="1" spc="-30" dirty="0">
                <a:solidFill>
                  <a:srgbClr val="FFD966"/>
                </a:solidFill>
                <a:latin typeface="Arial" panose="020B0604020202020204" pitchFamily="34" charset="0"/>
                <a:cs typeface="Arial" panose="020B0604020202020204" pitchFamily="34" charset="0"/>
              </a:rPr>
              <a:t> </a:t>
            </a:r>
            <a:r>
              <a:rPr sz="1600" b="1" dirty="0">
                <a:solidFill>
                  <a:srgbClr val="FFD966"/>
                </a:solidFill>
                <a:latin typeface="Arial" panose="020B0604020202020204" pitchFamily="34" charset="0"/>
                <a:cs typeface="Arial" panose="020B0604020202020204" pitchFamily="34" charset="0"/>
              </a:rPr>
              <a:t>(RL)</a:t>
            </a:r>
            <a:r>
              <a:rPr sz="1600" dirty="0">
                <a:solidFill>
                  <a:srgbClr val="FFFFFF"/>
                </a:solidFill>
                <a:latin typeface="Arial" panose="020B0604020202020204" pitchFamily="34" charset="0"/>
                <a:cs typeface="Arial" panose="020B0604020202020204" pitchFamily="34" charset="0"/>
              </a:rPr>
              <a:t>,</a:t>
            </a:r>
            <a:r>
              <a:rPr sz="1600" spc="-5"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predictive </a:t>
            </a:r>
            <a:r>
              <a:rPr sz="1600" dirty="0">
                <a:solidFill>
                  <a:srgbClr val="FFFFFF"/>
                </a:solidFill>
                <a:latin typeface="Arial" panose="020B0604020202020204" pitchFamily="34" charset="0"/>
                <a:cs typeface="Arial" panose="020B0604020202020204" pitchFamily="34" charset="0"/>
              </a:rPr>
              <a:t>analytics, etc.</a:t>
            </a:r>
            <a:r>
              <a:rPr sz="1600" spc="-4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a:t>
            </a:r>
            <a:r>
              <a:rPr sz="1600" spc="-35" dirty="0">
                <a:solidFill>
                  <a:srgbClr val="FFFFFF"/>
                </a:solidFill>
                <a:latin typeface="Arial" panose="020B0604020202020204" pitchFamily="34" charset="0"/>
                <a:cs typeface="Arial" panose="020B0604020202020204" pitchFamily="34" charset="0"/>
              </a:rPr>
              <a:t> </a:t>
            </a:r>
            <a:r>
              <a:rPr sz="1600" dirty="0">
                <a:solidFill>
                  <a:srgbClr val="FFFFFF"/>
                </a:solidFill>
                <a:latin typeface="Arial" panose="020B0604020202020204" pitchFamily="34" charset="0"/>
                <a:cs typeface="Arial" panose="020B0604020202020204" pitchFamily="34" charset="0"/>
              </a:rPr>
              <a:t>depending</a:t>
            </a:r>
            <a:r>
              <a:rPr sz="1600" spc="-25" dirty="0">
                <a:solidFill>
                  <a:srgbClr val="FFFFFF"/>
                </a:solidFill>
                <a:latin typeface="Arial" panose="020B0604020202020204" pitchFamily="34" charset="0"/>
                <a:cs typeface="Arial" panose="020B0604020202020204" pitchFamily="34" charset="0"/>
              </a:rPr>
              <a:t> on </a:t>
            </a:r>
            <a:r>
              <a:rPr sz="1600" dirty="0">
                <a:solidFill>
                  <a:srgbClr val="FFFFFF"/>
                </a:solidFill>
                <a:latin typeface="Arial" panose="020B0604020202020204" pitchFamily="34" charset="0"/>
                <a:cs typeface="Arial" panose="020B0604020202020204" pitchFamily="34" charset="0"/>
              </a:rPr>
              <a:t>the</a:t>
            </a:r>
            <a:r>
              <a:rPr sz="1600" spc="-3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use-</a:t>
            </a:r>
            <a:r>
              <a:rPr sz="1600" dirty="0">
                <a:solidFill>
                  <a:srgbClr val="FFFFFF"/>
                </a:solidFill>
                <a:latin typeface="Arial" panose="020B0604020202020204" pitchFamily="34" charset="0"/>
                <a:cs typeface="Arial" panose="020B0604020202020204" pitchFamily="34" charset="0"/>
              </a:rPr>
              <a:t>case</a:t>
            </a:r>
            <a:r>
              <a:rPr sz="1600" spc="40" dirty="0">
                <a:solidFill>
                  <a:srgbClr val="FFFFFF"/>
                </a:solidFill>
                <a:latin typeface="Arial" panose="020B0604020202020204" pitchFamily="34" charset="0"/>
                <a:cs typeface="Arial" panose="020B0604020202020204" pitchFamily="34" charset="0"/>
              </a:rPr>
              <a:t> </a:t>
            </a:r>
            <a:r>
              <a:rPr sz="1600" spc="-10" dirty="0">
                <a:solidFill>
                  <a:srgbClr val="FFFFFF"/>
                </a:solidFill>
                <a:latin typeface="Arial" panose="020B0604020202020204" pitchFamily="34" charset="0"/>
                <a:cs typeface="Arial" panose="020B0604020202020204" pitchFamily="34" charset="0"/>
              </a:rPr>
              <a:t>objectives.</a:t>
            </a:r>
            <a:endParaRPr sz="1600" dirty="0">
              <a:latin typeface="Arial" panose="020B0604020202020204" pitchFamily="34" charset="0"/>
              <a:cs typeface="Arial" panose="020B0604020202020204" pitchFamily="34" charset="0"/>
            </a:endParaRPr>
          </a:p>
        </p:txBody>
      </p:sp>
      <p:sp>
        <p:nvSpPr>
          <p:cNvPr id="14" name="object 8">
            <a:extLst>
              <a:ext uri="{FF2B5EF4-FFF2-40B4-BE49-F238E27FC236}">
                <a16:creationId xmlns:a16="http://schemas.microsoft.com/office/drawing/2014/main" id="{68B20EFA-F4E0-2D7A-4A49-F9FD693D1C93}"/>
              </a:ext>
            </a:extLst>
          </p:cNvPr>
          <p:cNvSpPr txBox="1"/>
          <p:nvPr/>
        </p:nvSpPr>
        <p:spPr>
          <a:xfrm>
            <a:off x="8208009" y="5540057"/>
            <a:ext cx="3591560" cy="390525"/>
          </a:xfrm>
          <a:prstGeom prst="rect">
            <a:avLst/>
          </a:prstGeom>
        </p:spPr>
        <p:txBody>
          <a:bodyPr vert="horz" wrap="square" lIns="0" tIns="19685" rIns="0" bIns="0" rtlCol="0">
            <a:spAutoFit/>
          </a:bodyPr>
          <a:lstStyle/>
          <a:p>
            <a:pPr marL="12700" marR="5080">
              <a:lnSpc>
                <a:spcPts val="1430"/>
              </a:lnSpc>
              <a:spcBef>
                <a:spcPts val="155"/>
              </a:spcBef>
            </a:pPr>
            <a:r>
              <a:rPr sz="1200" dirty="0">
                <a:latin typeface="Arial MT"/>
                <a:cs typeface="Arial MT"/>
                <a:hlinkClick r:id="rId3"/>
              </a:rPr>
              <a:t>*</a:t>
            </a:r>
            <a:r>
              <a:rPr sz="1200" spc="-20" dirty="0">
                <a:latin typeface="Arial MT"/>
                <a:cs typeface="Arial MT"/>
                <a:hlinkClick r:id="rId3"/>
              </a:rPr>
              <a:t> </a:t>
            </a:r>
            <a:r>
              <a:rPr sz="1200" dirty="0">
                <a:latin typeface="Arial MT"/>
                <a:cs typeface="Arial MT"/>
                <a:hlinkClick r:id="rId3"/>
              </a:rPr>
              <a:t>D.</a:t>
            </a:r>
            <a:r>
              <a:rPr sz="1200" spc="-5" dirty="0">
                <a:latin typeface="Arial MT"/>
                <a:cs typeface="Arial MT"/>
                <a:hlinkClick r:id="rId3"/>
              </a:rPr>
              <a:t> </a:t>
            </a:r>
            <a:r>
              <a:rPr sz="1200" dirty="0">
                <a:latin typeface="Arial MT"/>
                <a:cs typeface="Arial MT"/>
                <a:hlinkClick r:id="rId3"/>
              </a:rPr>
              <a:t>Biswas.</a:t>
            </a:r>
            <a:r>
              <a:rPr sz="1200" spc="-10" dirty="0">
                <a:latin typeface="Arial MT"/>
                <a:cs typeface="Arial MT"/>
                <a:hlinkClick r:id="rId3"/>
              </a:rPr>
              <a:t> </a:t>
            </a:r>
            <a:r>
              <a:rPr sz="1200" dirty="0">
                <a:latin typeface="Arial MT"/>
                <a:cs typeface="Arial MT"/>
                <a:hlinkClick r:id="rId3"/>
              </a:rPr>
              <a:t>LLM </a:t>
            </a:r>
            <a:r>
              <a:rPr sz="1200" spc="-10" dirty="0">
                <a:latin typeface="Arial MT"/>
                <a:cs typeface="Arial MT"/>
                <a:hlinkClick r:id="rId3"/>
              </a:rPr>
              <a:t>based</a:t>
            </a:r>
            <a:r>
              <a:rPr sz="1200" spc="-40" dirty="0">
                <a:latin typeface="Arial MT"/>
                <a:cs typeface="Arial MT"/>
                <a:hlinkClick r:id="rId3"/>
              </a:rPr>
              <a:t> </a:t>
            </a:r>
            <a:r>
              <a:rPr sz="1200" dirty="0">
                <a:latin typeface="Arial MT"/>
                <a:cs typeface="Arial MT"/>
                <a:hlinkClick r:id="rId3"/>
              </a:rPr>
              <a:t>fine-tuning</a:t>
            </a:r>
            <a:r>
              <a:rPr sz="1200" spc="-40" dirty="0">
                <a:latin typeface="Arial MT"/>
                <a:cs typeface="Arial MT"/>
                <a:hlinkClick r:id="rId3"/>
              </a:rPr>
              <a:t> </a:t>
            </a:r>
            <a:r>
              <a:rPr sz="1200" dirty="0">
                <a:latin typeface="Arial MT"/>
                <a:cs typeface="Arial MT"/>
                <a:hlinkClick r:id="rId3"/>
              </a:rPr>
              <a:t>of</a:t>
            </a:r>
            <a:r>
              <a:rPr sz="1200" spc="-5" dirty="0">
                <a:latin typeface="Arial MT"/>
                <a:cs typeface="Arial MT"/>
                <a:hlinkClick r:id="rId3"/>
              </a:rPr>
              <a:t> </a:t>
            </a:r>
            <a:r>
              <a:rPr sz="1200" spc="-10" dirty="0">
                <a:latin typeface="Arial MT"/>
                <a:cs typeface="Arial MT"/>
                <a:hlinkClick r:id="rId3"/>
              </a:rPr>
              <a:t>Reinforcement Learning</a:t>
            </a:r>
            <a:r>
              <a:rPr sz="1200" spc="-60" dirty="0">
                <a:latin typeface="Arial MT"/>
                <a:cs typeface="Arial MT"/>
                <a:hlinkClick r:id="rId3"/>
              </a:rPr>
              <a:t> </a:t>
            </a:r>
            <a:r>
              <a:rPr sz="1200" dirty="0">
                <a:latin typeface="Arial MT"/>
                <a:cs typeface="Arial MT"/>
                <a:hlinkClick r:id="rId3"/>
              </a:rPr>
              <a:t>Agents.</a:t>
            </a:r>
            <a:r>
              <a:rPr sz="1200" spc="-30" dirty="0">
                <a:latin typeface="Arial MT"/>
                <a:cs typeface="Arial MT"/>
                <a:hlinkClick r:id="rId3"/>
              </a:rPr>
              <a:t> </a:t>
            </a:r>
            <a:r>
              <a:rPr sz="1200" dirty="0">
                <a:latin typeface="Arial MT"/>
                <a:cs typeface="Arial MT"/>
                <a:hlinkClick r:id="rId3"/>
              </a:rPr>
              <a:t>AI</a:t>
            </a:r>
            <a:r>
              <a:rPr sz="1200" spc="-25" dirty="0">
                <a:latin typeface="Arial MT"/>
                <a:cs typeface="Arial MT"/>
                <a:hlinkClick r:id="rId3"/>
              </a:rPr>
              <a:t> </a:t>
            </a:r>
            <a:r>
              <a:rPr sz="1200" dirty="0">
                <a:latin typeface="Arial MT"/>
                <a:cs typeface="Arial MT"/>
                <a:hlinkClick r:id="rId3"/>
              </a:rPr>
              <a:t>Advances,</a:t>
            </a:r>
            <a:r>
              <a:rPr sz="1200" spc="-30" dirty="0">
                <a:latin typeface="Arial MT"/>
                <a:cs typeface="Arial MT"/>
                <a:hlinkClick r:id="rId3"/>
              </a:rPr>
              <a:t> </a:t>
            </a:r>
            <a:r>
              <a:rPr sz="1200" dirty="0">
                <a:latin typeface="Arial MT"/>
                <a:cs typeface="Arial MT"/>
                <a:hlinkClick r:id="rId3"/>
              </a:rPr>
              <a:t>2024</a:t>
            </a:r>
            <a:r>
              <a:rPr sz="1200" spc="10" dirty="0">
                <a:latin typeface="Arial MT"/>
                <a:cs typeface="Arial MT"/>
                <a:hlinkClick r:id="rId3"/>
              </a:rPr>
              <a:t> </a:t>
            </a:r>
            <a:r>
              <a:rPr sz="1200" spc="-10" dirty="0">
                <a:latin typeface="Arial MT"/>
                <a:cs typeface="Arial MT"/>
                <a:hlinkClick r:id="rId3"/>
              </a:rPr>
              <a:t>(</a:t>
            </a:r>
            <a:r>
              <a:rPr sz="1200" u="sng" spc="-10" dirty="0">
                <a:solidFill>
                  <a:srgbClr val="0462C1"/>
                </a:solidFill>
                <a:uFill>
                  <a:solidFill>
                    <a:srgbClr val="0462C1"/>
                  </a:solidFill>
                </a:uFill>
                <a:latin typeface="Arial MT"/>
                <a:cs typeface="Arial MT"/>
                <a:hlinkClick r:id="rId4"/>
              </a:rPr>
              <a:t>link</a:t>
            </a:r>
            <a:r>
              <a:rPr sz="1200" spc="-10" dirty="0">
                <a:latin typeface="Arial MT"/>
                <a:cs typeface="Arial MT"/>
                <a:hlinkClick r:id="rId3"/>
              </a:rPr>
              <a:t>)</a:t>
            </a:r>
            <a:endParaRPr sz="1200">
              <a:latin typeface="Arial MT"/>
              <a:cs typeface="Arial MT"/>
            </a:endParaRPr>
          </a:p>
        </p:txBody>
      </p:sp>
    </p:spTree>
    <p:extLst>
      <p:ext uri="{BB962C8B-B14F-4D97-AF65-F5344CB8AC3E}">
        <p14:creationId xmlns:p14="http://schemas.microsoft.com/office/powerpoint/2010/main" val="22084186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network&#10;&#10;AI-generated content may be incorrect.">
            <a:extLst>
              <a:ext uri="{FF2B5EF4-FFF2-40B4-BE49-F238E27FC236}">
                <a16:creationId xmlns:a16="http://schemas.microsoft.com/office/drawing/2014/main" id="{1C7AA4F9-D82D-A240-A725-666E1DE52BFD}"/>
              </a:ext>
            </a:extLst>
          </p:cNvPr>
          <p:cNvPicPr>
            <a:picLocks noChangeAspect="1"/>
          </p:cNvPicPr>
          <p:nvPr/>
        </p:nvPicPr>
        <p:blipFill>
          <a:blip r:embed="rId2" cstate="print">
            <a:duotone>
              <a:srgbClr val="FF6600">
                <a:shade val="45000"/>
                <a:satMod val="135000"/>
              </a:srgbClr>
              <a:prstClr val="white"/>
            </a:duotone>
            <a:alphaModFix amt="35000"/>
            <a:extLst>
              <a:ext uri="{28A0092B-C50C-407E-A947-70E740481C1C}">
                <a14:useLocalDpi xmlns:a14="http://schemas.microsoft.com/office/drawing/2010/main" val="0"/>
              </a:ext>
            </a:extLst>
          </a:blip>
          <a:stretch>
            <a:fillRect/>
          </a:stretch>
        </p:blipFill>
        <p:spPr>
          <a:xfrm>
            <a:off x="51881" y="-889407"/>
            <a:ext cx="12192000" cy="8636813"/>
          </a:xfrm>
          <a:prstGeom prst="rect">
            <a:avLst/>
          </a:prstGeom>
        </p:spPr>
      </p:pic>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8" name="Rectangle: Rounded Corners 7">
            <a:extLst>
              <a:ext uri="{FF2B5EF4-FFF2-40B4-BE49-F238E27FC236}">
                <a16:creationId xmlns:a16="http://schemas.microsoft.com/office/drawing/2014/main" id="{7434C13A-ACDC-D390-7176-09BC2886D7EA}"/>
              </a:ext>
            </a:extLst>
          </p:cNvPr>
          <p:cNvSpPr/>
          <p:nvPr/>
        </p:nvSpPr>
        <p:spPr>
          <a:xfrm>
            <a:off x="2380412" y="1028293"/>
            <a:ext cx="7431175" cy="4957053"/>
          </a:xfrm>
          <a:prstGeom prst="roundRect">
            <a:avLst/>
          </a:prstGeom>
          <a:solidFill>
            <a:sysClr val="window" lastClr="FFFFFF"/>
          </a:solidFill>
          <a:ln w="19050" cap="flat" cmpd="sng" algn="ctr">
            <a:solidFill>
              <a:srgbClr val="FF6600"/>
            </a:solid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black"/>
              </a:solidFill>
              <a:effectLst/>
              <a:uLnTx/>
              <a:uFillTx/>
              <a:latin typeface="Arial"/>
              <a:ea typeface="+mn-ea"/>
              <a:cs typeface="+mn-cs"/>
            </a:endParaRPr>
          </a:p>
        </p:txBody>
      </p:sp>
      <p:sp>
        <p:nvSpPr>
          <p:cNvPr id="4" name="Title 8">
            <a:extLst>
              <a:ext uri="{FF2B5EF4-FFF2-40B4-BE49-F238E27FC236}">
                <a16:creationId xmlns:a16="http://schemas.microsoft.com/office/drawing/2014/main" id="{3E7F068C-7331-4C29-982C-3427FBB32AA9}"/>
              </a:ext>
            </a:extLst>
          </p:cNvPr>
          <p:cNvSpPr txBox="1">
            <a:spLocks/>
          </p:cNvSpPr>
          <p:nvPr/>
        </p:nvSpPr>
        <p:spPr>
          <a:xfrm>
            <a:off x="4345040" y="3172672"/>
            <a:ext cx="3605681" cy="66829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60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DEMO</a:t>
            </a:r>
          </a:p>
        </p:txBody>
      </p:sp>
    </p:spTree>
    <p:extLst>
      <p:ext uri="{BB962C8B-B14F-4D97-AF65-F5344CB8AC3E}">
        <p14:creationId xmlns:p14="http://schemas.microsoft.com/office/powerpoint/2010/main" val="7640457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1917970" y="1472439"/>
              <a:ext cx="8174476" cy="8008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Agentic AI: A2A &amp; MCP — Concepts, Mechanisms &amp; Use Cases</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760023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tic AI: A2A &amp; MCP — </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oncepts, Mechanisms &amp; Use Cases</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CF25AFF7-69B5-1F31-7B23-0667A76CC426}"/>
              </a:ext>
            </a:extLst>
          </p:cNvPr>
          <p:cNvSpPr txBox="1"/>
          <p:nvPr/>
        </p:nvSpPr>
        <p:spPr>
          <a:xfrm>
            <a:off x="838200" y="2209800"/>
            <a:ext cx="11734800" cy="2031325"/>
          </a:xfrm>
          <a:prstGeom prst="rect">
            <a:avLst/>
          </a:prstGeom>
          <a:noFill/>
        </p:spPr>
        <p:txBody>
          <a:bodyPr wrap="square">
            <a:spAutoFit/>
          </a:bodyPr>
          <a:lstStyle/>
          <a:p>
            <a:pPr marL="0" indent="0">
              <a:buNone/>
            </a:pPr>
            <a:r>
              <a:rPr lang="en-IN" u="sng" dirty="0">
                <a:solidFill>
                  <a:schemeClr val="tx1"/>
                </a:solidFill>
              </a:rPr>
              <a:t>Agenda / What We Will Cover </a:t>
            </a:r>
          </a:p>
          <a:p>
            <a:r>
              <a:rPr lang="en-IN" dirty="0">
                <a:solidFill>
                  <a:schemeClr val="tx1"/>
                </a:solidFill>
              </a:rPr>
              <a:t>What is Agentic AI &amp; why protocols matter</a:t>
            </a:r>
          </a:p>
          <a:p>
            <a:r>
              <a:rPr lang="en-IN" dirty="0">
                <a:solidFill>
                  <a:schemeClr val="tx1"/>
                </a:solidFill>
              </a:rPr>
              <a:t>A2A (Agent-to-Agent) — theory, interaction types, message passing, coordination &amp; negotiation</a:t>
            </a:r>
          </a:p>
          <a:p>
            <a:r>
              <a:rPr lang="en-IN" dirty="0">
                <a:solidFill>
                  <a:schemeClr val="tx1"/>
                </a:solidFill>
              </a:rPr>
              <a:t>MCP (Model Context Protocol) — what it is, how it standardizes tool/data access</a:t>
            </a:r>
          </a:p>
          <a:p>
            <a:r>
              <a:rPr lang="en-IN" dirty="0">
                <a:solidFill>
                  <a:schemeClr val="tx1"/>
                </a:solidFill>
              </a:rPr>
              <a:t>Using A2A and MCP together — how they complement each other</a:t>
            </a:r>
          </a:p>
          <a:p>
            <a:r>
              <a:rPr lang="en-IN" dirty="0">
                <a:solidFill>
                  <a:schemeClr val="tx1"/>
                </a:solidFill>
              </a:rPr>
              <a:t>Example Scenario: end-to-end workflow using A2A + MCP</a:t>
            </a:r>
          </a:p>
          <a:p>
            <a:r>
              <a:rPr lang="en-IN" dirty="0">
                <a:solidFill>
                  <a:schemeClr val="tx1"/>
                </a:solidFill>
              </a:rPr>
              <a:t>Summary &amp; Key Takeaways</a:t>
            </a:r>
            <a:endParaRPr lang="en-US" dirty="0">
              <a:solidFill>
                <a:schemeClr val="tx1"/>
              </a:solidFill>
            </a:endParaRPr>
          </a:p>
        </p:txBody>
      </p:sp>
    </p:spTree>
    <p:extLst>
      <p:ext uri="{BB962C8B-B14F-4D97-AF65-F5344CB8AC3E}">
        <p14:creationId xmlns:p14="http://schemas.microsoft.com/office/powerpoint/2010/main" val="2680382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y Protocols are Important for Agentic AI</a:t>
            </a:r>
          </a:p>
        </p:txBody>
      </p:sp>
      <p:pic>
        <p:nvPicPr>
          <p:cNvPr id="4" name="Picture 3">
            <a:extLst>
              <a:ext uri="{FF2B5EF4-FFF2-40B4-BE49-F238E27FC236}">
                <a16:creationId xmlns:a16="http://schemas.microsoft.com/office/drawing/2014/main" id="{57E0E4F0-B685-4D8E-A1A3-800C5B98A3D8}"/>
              </a:ext>
            </a:extLst>
          </p:cNvPr>
          <p:cNvPicPr>
            <a:picLocks noChangeAspect="1"/>
          </p:cNvPicPr>
          <p:nvPr/>
        </p:nvPicPr>
        <p:blipFill>
          <a:blip r:embed="rId3"/>
          <a:stretch>
            <a:fillRect/>
          </a:stretch>
        </p:blipFill>
        <p:spPr>
          <a:xfrm>
            <a:off x="1714500" y="1219200"/>
            <a:ext cx="8763000" cy="4783708"/>
          </a:xfrm>
          <a:prstGeom prst="rect">
            <a:avLst/>
          </a:prstGeom>
        </p:spPr>
      </p:pic>
    </p:spTree>
    <p:extLst>
      <p:ext uri="{BB962C8B-B14F-4D97-AF65-F5344CB8AC3E}">
        <p14:creationId xmlns:p14="http://schemas.microsoft.com/office/powerpoint/2010/main" val="39839718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A65B308A-0F0B-7B0F-DFB9-D78844396B93}"/>
              </a:ext>
            </a:extLst>
          </p:cNvPr>
          <p:cNvSpPr/>
          <p:nvPr/>
        </p:nvSpPr>
        <p:spPr>
          <a:xfrm>
            <a:off x="1059366" y="2419815"/>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Personal Agent</a:t>
            </a:r>
          </a:p>
          <a:p>
            <a:pPr algn="ctr"/>
            <a:endParaRPr lang="en-IN" dirty="0"/>
          </a:p>
        </p:txBody>
      </p:sp>
      <p:pic>
        <p:nvPicPr>
          <p:cNvPr id="9" name="Picture 8" descr="A colorful logo with arrows&#10;&#10;AI-generated content may be incorrect.">
            <a:extLst>
              <a:ext uri="{FF2B5EF4-FFF2-40B4-BE49-F238E27FC236}">
                <a16:creationId xmlns:a16="http://schemas.microsoft.com/office/drawing/2014/main" id="{A7E7180F-0F7B-E41F-5692-F0E1DF0855E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1694985" y="3021982"/>
            <a:ext cx="1594625" cy="1460810"/>
          </a:xfrm>
          <a:prstGeom prst="rect">
            <a:avLst/>
          </a:prstGeom>
        </p:spPr>
      </p:pic>
      <p:sp>
        <p:nvSpPr>
          <p:cNvPr id="10" name="TextBox 9">
            <a:extLst>
              <a:ext uri="{FF2B5EF4-FFF2-40B4-BE49-F238E27FC236}">
                <a16:creationId xmlns:a16="http://schemas.microsoft.com/office/drawing/2014/main" id="{713E5A0C-D36A-48E0-7CEB-984ED8443DAD}"/>
              </a:ext>
            </a:extLst>
          </p:cNvPr>
          <p:cNvSpPr txBox="1"/>
          <p:nvPr/>
        </p:nvSpPr>
        <p:spPr>
          <a:xfrm>
            <a:off x="1471960" y="4482791"/>
            <a:ext cx="2018371" cy="369332"/>
          </a:xfrm>
          <a:prstGeom prst="rect">
            <a:avLst/>
          </a:prstGeom>
          <a:noFill/>
        </p:spPr>
        <p:txBody>
          <a:bodyPr wrap="square" rtlCol="0">
            <a:spAutoFit/>
          </a:bodyPr>
          <a:lstStyle/>
          <a:p>
            <a:pPr algn="ctr"/>
            <a:r>
              <a:rPr lang="en-US" dirty="0"/>
              <a:t>Client</a:t>
            </a:r>
            <a:endParaRPr lang="en-IN" dirty="0"/>
          </a:p>
        </p:txBody>
      </p:sp>
      <p:sp>
        <p:nvSpPr>
          <p:cNvPr id="11" name="Rectangle: Rounded Corners 10">
            <a:extLst>
              <a:ext uri="{FF2B5EF4-FFF2-40B4-BE49-F238E27FC236}">
                <a16:creationId xmlns:a16="http://schemas.microsoft.com/office/drawing/2014/main" id="{D45E4ED6-6405-3B4A-F717-522BF58B924D}"/>
              </a:ext>
            </a:extLst>
          </p:cNvPr>
          <p:cNvSpPr/>
          <p:nvPr/>
        </p:nvSpPr>
        <p:spPr>
          <a:xfrm>
            <a:off x="6921511" y="837775"/>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Hotel Agent</a:t>
            </a:r>
          </a:p>
          <a:p>
            <a:pPr algn="ctr"/>
            <a:endParaRPr lang="en-IN" dirty="0"/>
          </a:p>
        </p:txBody>
      </p:sp>
      <p:pic>
        <p:nvPicPr>
          <p:cNvPr id="12" name="Picture 11">
            <a:extLst>
              <a:ext uri="{FF2B5EF4-FFF2-40B4-BE49-F238E27FC236}">
                <a16:creationId xmlns:a16="http://schemas.microsoft.com/office/drawing/2014/main" id="{F53C498F-F883-9F9A-98CA-A960DA9F7AD8}"/>
              </a:ext>
            </a:extLst>
          </p:cNvPr>
          <p:cNvPicPr>
            <a:picLocks noChangeAspect="1"/>
          </p:cNvPicPr>
          <p:nvPr/>
        </p:nvPicPr>
        <p:blipFill>
          <a:blip r:embed="rId4">
            <a:extLst>
              <a:ext uri="{837473B0-CC2E-450A-ABE3-18F120FF3D39}">
                <a1611:picAttrSrcUrl xmlns:a1611="http://schemas.microsoft.com/office/drawing/2016/11/main" r:id="rId5"/>
              </a:ext>
            </a:extLst>
          </a:blip>
          <a:srcRect/>
          <a:stretch/>
        </p:blipFill>
        <p:spPr>
          <a:xfrm>
            <a:off x="7802457" y="1596803"/>
            <a:ext cx="1252334" cy="1252334"/>
          </a:xfrm>
          <a:prstGeom prst="rect">
            <a:avLst/>
          </a:prstGeom>
        </p:spPr>
      </p:pic>
      <p:sp>
        <p:nvSpPr>
          <p:cNvPr id="13" name="TextBox 12">
            <a:extLst>
              <a:ext uri="{FF2B5EF4-FFF2-40B4-BE49-F238E27FC236}">
                <a16:creationId xmlns:a16="http://schemas.microsoft.com/office/drawing/2014/main" id="{5F75AC36-B744-4A8C-D0A6-2161FC617EC2}"/>
              </a:ext>
            </a:extLst>
          </p:cNvPr>
          <p:cNvSpPr txBox="1"/>
          <p:nvPr/>
        </p:nvSpPr>
        <p:spPr>
          <a:xfrm>
            <a:off x="7334104" y="468443"/>
            <a:ext cx="2018371" cy="369332"/>
          </a:xfrm>
          <a:prstGeom prst="rect">
            <a:avLst/>
          </a:prstGeom>
          <a:noFill/>
        </p:spPr>
        <p:txBody>
          <a:bodyPr wrap="square" rtlCol="0">
            <a:spAutoFit/>
          </a:bodyPr>
          <a:lstStyle/>
          <a:p>
            <a:pPr algn="ctr"/>
            <a:r>
              <a:rPr lang="en-US" dirty="0">
                <a:solidFill>
                  <a:schemeClr val="bg1"/>
                </a:solidFill>
              </a:rPr>
              <a:t>Remote</a:t>
            </a:r>
            <a:endParaRPr lang="en-IN" dirty="0">
              <a:solidFill>
                <a:schemeClr val="bg1"/>
              </a:solidFill>
            </a:endParaRPr>
          </a:p>
        </p:txBody>
      </p:sp>
      <p:sp>
        <p:nvSpPr>
          <p:cNvPr id="14" name="Rectangle: Rounded Corners 13">
            <a:extLst>
              <a:ext uri="{FF2B5EF4-FFF2-40B4-BE49-F238E27FC236}">
                <a16:creationId xmlns:a16="http://schemas.microsoft.com/office/drawing/2014/main" id="{8D093A68-04A5-9A3F-0643-6386D7E56DAD}"/>
              </a:ext>
            </a:extLst>
          </p:cNvPr>
          <p:cNvSpPr/>
          <p:nvPr/>
        </p:nvSpPr>
        <p:spPr>
          <a:xfrm>
            <a:off x="6921511" y="3767973"/>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Car Rental Agent</a:t>
            </a:r>
          </a:p>
          <a:p>
            <a:pPr algn="ctr"/>
            <a:endParaRPr lang="en-IN" dirty="0"/>
          </a:p>
        </p:txBody>
      </p:sp>
      <p:pic>
        <p:nvPicPr>
          <p:cNvPr id="15" name="Picture 14">
            <a:extLst>
              <a:ext uri="{FF2B5EF4-FFF2-40B4-BE49-F238E27FC236}">
                <a16:creationId xmlns:a16="http://schemas.microsoft.com/office/drawing/2014/main" id="{3E2AA398-B65C-88A4-3D87-8A85B04952CF}"/>
              </a:ext>
            </a:extLst>
          </p:cNvPr>
          <p:cNvPicPr>
            <a:picLocks noChangeAspect="1"/>
          </p:cNvPicPr>
          <p:nvPr/>
        </p:nvPicPr>
        <p:blipFill>
          <a:blip r:embed="rId6">
            <a:extLst>
              <a:ext uri="{837473B0-CC2E-450A-ABE3-18F120FF3D39}">
                <a1611:picAttrSrcUrl xmlns:a1611="http://schemas.microsoft.com/office/drawing/2016/11/main" r:id="rId7"/>
              </a:ext>
            </a:extLst>
          </a:blip>
          <a:srcRect/>
          <a:stretch/>
        </p:blipFill>
        <p:spPr>
          <a:xfrm>
            <a:off x="7734980" y="4453525"/>
            <a:ext cx="1238924" cy="1238924"/>
          </a:xfrm>
          <a:prstGeom prst="rect">
            <a:avLst/>
          </a:prstGeom>
        </p:spPr>
      </p:pic>
      <p:sp>
        <p:nvSpPr>
          <p:cNvPr id="16" name="TextBox 15">
            <a:extLst>
              <a:ext uri="{FF2B5EF4-FFF2-40B4-BE49-F238E27FC236}">
                <a16:creationId xmlns:a16="http://schemas.microsoft.com/office/drawing/2014/main" id="{4F96DA4D-0C3E-FA52-329D-CCD152A3563A}"/>
              </a:ext>
            </a:extLst>
          </p:cNvPr>
          <p:cNvSpPr txBox="1"/>
          <p:nvPr/>
        </p:nvSpPr>
        <p:spPr>
          <a:xfrm>
            <a:off x="7334105" y="5830949"/>
            <a:ext cx="2018371" cy="369332"/>
          </a:xfrm>
          <a:prstGeom prst="rect">
            <a:avLst/>
          </a:prstGeom>
          <a:noFill/>
        </p:spPr>
        <p:txBody>
          <a:bodyPr wrap="square" rtlCol="0">
            <a:spAutoFit/>
          </a:bodyPr>
          <a:lstStyle/>
          <a:p>
            <a:pPr algn="ctr"/>
            <a:r>
              <a:rPr lang="en-US" dirty="0"/>
              <a:t>Remote</a:t>
            </a:r>
          </a:p>
        </p:txBody>
      </p:sp>
      <p:cxnSp>
        <p:nvCxnSpPr>
          <p:cNvPr id="21" name="Straight Arrow Connector 20">
            <a:extLst>
              <a:ext uri="{FF2B5EF4-FFF2-40B4-BE49-F238E27FC236}">
                <a16:creationId xmlns:a16="http://schemas.microsoft.com/office/drawing/2014/main" id="{C06C75B8-829E-AC50-BFA8-FDE82B152164}"/>
              </a:ext>
            </a:extLst>
          </p:cNvPr>
          <p:cNvCxnSpPr/>
          <p:nvPr/>
        </p:nvCxnSpPr>
        <p:spPr>
          <a:xfrm flipV="1">
            <a:off x="4181707" y="2018371"/>
            <a:ext cx="2486722" cy="680225"/>
          </a:xfrm>
          <a:prstGeom prst="straightConnector1">
            <a:avLst/>
          </a:prstGeom>
          <a:ln>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5129F4F-F233-AC42-18B2-260EA9E872D4}"/>
              </a:ext>
            </a:extLst>
          </p:cNvPr>
          <p:cNvSpPr txBox="1"/>
          <p:nvPr/>
        </p:nvSpPr>
        <p:spPr>
          <a:xfrm>
            <a:off x="4599877" y="1890405"/>
            <a:ext cx="1650381" cy="276999"/>
          </a:xfrm>
          <a:prstGeom prst="rect">
            <a:avLst/>
          </a:prstGeom>
          <a:noFill/>
        </p:spPr>
        <p:txBody>
          <a:bodyPr wrap="square" rtlCol="0">
            <a:spAutoFit/>
          </a:bodyPr>
          <a:lstStyle/>
          <a:p>
            <a:r>
              <a:rPr lang="en-US" sz="1200" dirty="0"/>
              <a:t>Communicate?</a:t>
            </a:r>
            <a:endParaRPr lang="en-IN" sz="1200" dirty="0"/>
          </a:p>
        </p:txBody>
      </p:sp>
      <p:cxnSp>
        <p:nvCxnSpPr>
          <p:cNvPr id="23" name="Straight Arrow Connector 22">
            <a:extLst>
              <a:ext uri="{FF2B5EF4-FFF2-40B4-BE49-F238E27FC236}">
                <a16:creationId xmlns:a16="http://schemas.microsoft.com/office/drawing/2014/main" id="{A31B7A33-AE73-9A6B-3769-0C36AE57AAB1}"/>
              </a:ext>
            </a:extLst>
          </p:cNvPr>
          <p:cNvCxnSpPr>
            <a:cxnSpLocks/>
          </p:cNvCxnSpPr>
          <p:nvPr/>
        </p:nvCxnSpPr>
        <p:spPr>
          <a:xfrm>
            <a:off x="4181707" y="4215161"/>
            <a:ext cx="2539083" cy="636962"/>
          </a:xfrm>
          <a:prstGeom prst="straightConnector1">
            <a:avLst/>
          </a:prstGeom>
          <a:ln>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F665D6-1B21-A45A-3E37-247B5E7909A3}"/>
              </a:ext>
            </a:extLst>
          </p:cNvPr>
          <p:cNvSpPr txBox="1"/>
          <p:nvPr/>
        </p:nvSpPr>
        <p:spPr>
          <a:xfrm>
            <a:off x="4626057" y="4713623"/>
            <a:ext cx="1650381" cy="276999"/>
          </a:xfrm>
          <a:prstGeom prst="rect">
            <a:avLst/>
          </a:prstGeom>
          <a:noFill/>
        </p:spPr>
        <p:txBody>
          <a:bodyPr wrap="square" rtlCol="0">
            <a:spAutoFit/>
          </a:bodyPr>
          <a:lstStyle/>
          <a:p>
            <a:r>
              <a:rPr lang="en-US" sz="1200" dirty="0"/>
              <a:t>Communicate?</a:t>
            </a:r>
            <a:endParaRPr lang="en-IN" sz="1200" dirty="0"/>
          </a:p>
        </p:txBody>
      </p:sp>
      <p:cxnSp>
        <p:nvCxnSpPr>
          <p:cNvPr id="27" name="Straight Arrow Connector 26">
            <a:extLst>
              <a:ext uri="{FF2B5EF4-FFF2-40B4-BE49-F238E27FC236}">
                <a16:creationId xmlns:a16="http://schemas.microsoft.com/office/drawing/2014/main" id="{CE3DE29B-975A-1A25-110C-82CF497B7FD6}"/>
              </a:ext>
            </a:extLst>
          </p:cNvPr>
          <p:cNvCxnSpPr>
            <a:cxnSpLocks/>
          </p:cNvCxnSpPr>
          <p:nvPr/>
        </p:nvCxnSpPr>
        <p:spPr>
          <a:xfrm>
            <a:off x="8352264" y="2987637"/>
            <a:ext cx="0" cy="620528"/>
          </a:xfrm>
          <a:prstGeom prst="straightConnector1">
            <a:avLst/>
          </a:prstGeom>
          <a:ln>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F9519FD-4AB3-CDF3-D9A7-176A9453877E}"/>
              </a:ext>
            </a:extLst>
          </p:cNvPr>
          <p:cNvSpPr txBox="1"/>
          <p:nvPr/>
        </p:nvSpPr>
        <p:spPr>
          <a:xfrm>
            <a:off x="7702094" y="3131583"/>
            <a:ext cx="1650381" cy="276999"/>
          </a:xfrm>
          <a:prstGeom prst="rect">
            <a:avLst/>
          </a:prstGeom>
          <a:noFill/>
        </p:spPr>
        <p:txBody>
          <a:bodyPr wrap="square" rtlCol="0">
            <a:spAutoFit/>
          </a:bodyPr>
          <a:lstStyle/>
          <a:p>
            <a:r>
              <a:rPr lang="en-US" sz="1200" dirty="0"/>
              <a:t>Communicate?</a:t>
            </a:r>
            <a:endParaRPr lang="en-IN" sz="1200" dirty="0"/>
          </a:p>
        </p:txBody>
      </p:sp>
      <p:sp>
        <p:nvSpPr>
          <p:cNvPr id="31" name="TextBox 30">
            <a:extLst>
              <a:ext uri="{FF2B5EF4-FFF2-40B4-BE49-F238E27FC236}">
                <a16:creationId xmlns:a16="http://schemas.microsoft.com/office/drawing/2014/main" id="{82CF22A3-A4A0-E23A-1283-37D7049D94D6}"/>
              </a:ext>
            </a:extLst>
          </p:cNvPr>
          <p:cNvSpPr txBox="1"/>
          <p:nvPr/>
        </p:nvSpPr>
        <p:spPr>
          <a:xfrm>
            <a:off x="10091854" y="1596803"/>
            <a:ext cx="1761892" cy="646331"/>
          </a:xfrm>
          <a:prstGeom prst="rect">
            <a:avLst/>
          </a:prstGeom>
          <a:noFill/>
        </p:spPr>
        <p:txBody>
          <a:bodyPr wrap="square" rtlCol="0">
            <a:spAutoFit/>
          </a:bodyPr>
          <a:lstStyle/>
          <a:p>
            <a:pPr marL="171450" indent="-171450">
              <a:buFont typeface="Wingdings" panose="05000000000000000000" pitchFamily="2" charset="2"/>
              <a:buChar char="Ø"/>
            </a:pPr>
            <a:r>
              <a:rPr lang="en-US" sz="1200" dirty="0"/>
              <a:t>What Can it do?</a:t>
            </a:r>
          </a:p>
          <a:p>
            <a:pPr marL="171450" indent="-171450">
              <a:buFont typeface="Wingdings" panose="05000000000000000000" pitchFamily="2" charset="2"/>
              <a:buChar char="Ø"/>
            </a:pPr>
            <a:r>
              <a:rPr lang="en-US" sz="1200" dirty="0"/>
              <a:t>Send?</a:t>
            </a:r>
          </a:p>
          <a:p>
            <a:pPr marL="171450" indent="-171450">
              <a:buFont typeface="Wingdings" panose="05000000000000000000" pitchFamily="2" charset="2"/>
              <a:buChar char="Ø"/>
            </a:pPr>
            <a:r>
              <a:rPr lang="en-US" sz="1200" dirty="0"/>
              <a:t>Response?</a:t>
            </a:r>
          </a:p>
        </p:txBody>
      </p:sp>
      <p:sp>
        <p:nvSpPr>
          <p:cNvPr id="32" name="TextBox 31">
            <a:extLst>
              <a:ext uri="{FF2B5EF4-FFF2-40B4-BE49-F238E27FC236}">
                <a16:creationId xmlns:a16="http://schemas.microsoft.com/office/drawing/2014/main" id="{A48BD133-6DB3-8397-C5D8-E28E42AEDEE6}"/>
              </a:ext>
            </a:extLst>
          </p:cNvPr>
          <p:cNvSpPr txBox="1"/>
          <p:nvPr/>
        </p:nvSpPr>
        <p:spPr>
          <a:xfrm>
            <a:off x="10091854" y="3933477"/>
            <a:ext cx="1761892" cy="646331"/>
          </a:xfrm>
          <a:prstGeom prst="rect">
            <a:avLst/>
          </a:prstGeom>
          <a:noFill/>
        </p:spPr>
        <p:txBody>
          <a:bodyPr wrap="square" rtlCol="0">
            <a:spAutoFit/>
          </a:bodyPr>
          <a:lstStyle/>
          <a:p>
            <a:pPr marL="171450" indent="-171450">
              <a:buFont typeface="Wingdings" panose="05000000000000000000" pitchFamily="2" charset="2"/>
              <a:buChar char="Ø"/>
            </a:pPr>
            <a:r>
              <a:rPr lang="en-US" sz="1200" dirty="0"/>
              <a:t>What Can it do?</a:t>
            </a:r>
          </a:p>
          <a:p>
            <a:pPr marL="171450" indent="-171450">
              <a:buFont typeface="Wingdings" panose="05000000000000000000" pitchFamily="2" charset="2"/>
              <a:buChar char="Ø"/>
            </a:pPr>
            <a:r>
              <a:rPr lang="en-US" sz="1200" dirty="0"/>
              <a:t>Send?</a:t>
            </a:r>
          </a:p>
          <a:p>
            <a:pPr marL="171450" indent="-171450">
              <a:buFont typeface="Wingdings" panose="05000000000000000000" pitchFamily="2" charset="2"/>
              <a:buChar char="Ø"/>
            </a:pPr>
            <a:r>
              <a:rPr lang="en-US" sz="1200" dirty="0"/>
              <a:t>Response?</a:t>
            </a:r>
          </a:p>
        </p:txBody>
      </p:sp>
    </p:spTree>
    <p:extLst>
      <p:ext uri="{BB962C8B-B14F-4D97-AF65-F5344CB8AC3E}">
        <p14:creationId xmlns:p14="http://schemas.microsoft.com/office/powerpoint/2010/main" val="37252944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43BC75-6F49-4A34-BF0C-45FE91BF83B6}"/>
              </a:ext>
            </a:extLst>
          </p:cNvPr>
          <p:cNvSpPr txBox="1"/>
          <p:nvPr/>
        </p:nvSpPr>
        <p:spPr>
          <a:xfrm>
            <a:off x="1198181" y="4087571"/>
            <a:ext cx="4795282" cy="2031941"/>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defTabSz="914400">
              <a:spcBef>
                <a:spcPct val="0"/>
              </a:spcBef>
              <a:spcAft>
                <a:spcPts val="600"/>
              </a:spcAft>
            </a:pPr>
            <a:r>
              <a:rPr lang="en-US" sz="4400" b="1" kern="1200" dirty="0">
                <a:solidFill>
                  <a:schemeClr val="tx2"/>
                </a:solidFill>
                <a:latin typeface="+mj-lt"/>
                <a:ea typeface="+mj-ea"/>
                <a:cs typeface="+mj-cs"/>
              </a:rPr>
              <a:t>Harish Kumar</a:t>
            </a:r>
          </a:p>
          <a:p>
            <a:pPr defTabSz="914400">
              <a:spcBef>
                <a:spcPct val="0"/>
              </a:spcBef>
              <a:spcAft>
                <a:spcPts val="600"/>
              </a:spcAft>
            </a:pPr>
            <a:endParaRPr lang="en-US" sz="4400" b="1" kern="1200" dirty="0">
              <a:solidFill>
                <a:schemeClr val="tx2"/>
              </a:solidFill>
              <a:latin typeface="+mj-lt"/>
              <a:ea typeface="+mj-ea"/>
              <a:cs typeface="+mj-cs"/>
            </a:endParaRPr>
          </a:p>
          <a:p>
            <a:pPr defTabSz="914400">
              <a:spcBef>
                <a:spcPct val="0"/>
              </a:spcBef>
              <a:spcAft>
                <a:spcPts val="600"/>
              </a:spcAft>
            </a:pPr>
            <a:endParaRPr lang="en-US" sz="4400" b="1" kern="1200" dirty="0">
              <a:solidFill>
                <a:schemeClr val="tx2"/>
              </a:solidFill>
              <a:latin typeface="+mj-lt"/>
              <a:ea typeface="+mj-ea"/>
              <a:cs typeface="+mj-cs"/>
            </a:endParaRPr>
          </a:p>
        </p:txBody>
      </p:sp>
      <p:pic>
        <p:nvPicPr>
          <p:cNvPr id="4" name="Picture 3" descr="3D rendering of white waves">
            <a:extLst>
              <a:ext uri="{FF2B5EF4-FFF2-40B4-BE49-F238E27FC236}">
                <a16:creationId xmlns:a16="http://schemas.microsoft.com/office/drawing/2014/main" id="{BECE37D2-C4DF-4873-92C3-30045B164857}"/>
              </a:ext>
            </a:extLst>
          </p:cNvPr>
          <p:cNvPicPr>
            <a:picLocks noChangeAspect="1"/>
          </p:cNvPicPr>
          <p:nvPr/>
        </p:nvPicPr>
        <p:blipFill rotWithShape="1">
          <a:blip r:embed="rId2"/>
          <a:srcRect l="4127" r="1" b="1"/>
          <a:stretch/>
        </p:blipFill>
        <p:spPr>
          <a:xfrm>
            <a:off x="532506" y="8574"/>
            <a:ext cx="5567121" cy="3875999"/>
          </a:xfrm>
          <a:custGeom>
            <a:avLst/>
            <a:gdLst/>
            <a:ahLst/>
            <a:cxnLst/>
            <a:rect l="l" t="t" r="r" b="b"/>
            <a:pathLst>
              <a:path w="5993975" h="4173188">
                <a:moveTo>
                  <a:pt x="0" y="0"/>
                </a:moveTo>
                <a:lnTo>
                  <a:pt x="5993975" y="0"/>
                </a:lnTo>
                <a:lnTo>
                  <a:pt x="5993975" y="4171950"/>
                </a:lnTo>
                <a:lnTo>
                  <a:pt x="5993975" y="4173188"/>
                </a:lnTo>
                <a:cubicBezTo>
                  <a:pt x="3046083" y="4173188"/>
                  <a:pt x="586537" y="2430780"/>
                  <a:pt x="17800" y="114491"/>
                </a:cubicBezTo>
                <a:lnTo>
                  <a:pt x="0" y="31564"/>
                </a:lnTo>
                <a:close/>
              </a:path>
            </a:pathLst>
          </a:custGeom>
        </p:spPr>
      </p:pic>
      <p:pic>
        <p:nvPicPr>
          <p:cNvPr id="7" name="Picture 7">
            <a:extLst>
              <a:ext uri="{FF2B5EF4-FFF2-40B4-BE49-F238E27FC236}">
                <a16:creationId xmlns:a16="http://schemas.microsoft.com/office/drawing/2014/main" id="{9E59D72B-EEA9-4859-8FDF-D319761CC704}"/>
              </a:ext>
            </a:extLst>
          </p:cNvPr>
          <p:cNvPicPr>
            <a:picLocks noChangeAspect="1"/>
          </p:cNvPicPr>
          <p:nvPr/>
        </p:nvPicPr>
        <p:blipFill rotWithShape="1">
          <a:blip r:embed="rId3"/>
          <a:srcRect t="9318" r="-2" b="29566"/>
          <a:stretch/>
        </p:blipFill>
        <p:spPr>
          <a:xfrm>
            <a:off x="6046540" y="-10088"/>
            <a:ext cx="5549381" cy="3875999"/>
          </a:xfrm>
          <a:custGeom>
            <a:avLst/>
            <a:gdLst/>
            <a:ahLst/>
            <a:cxnLst/>
            <a:rect l="l" t="t" r="r" b="b"/>
            <a:pathLst>
              <a:path w="5974876" h="4164435">
                <a:moveTo>
                  <a:pt x="0" y="0"/>
                </a:moveTo>
                <a:lnTo>
                  <a:pt x="5974876" y="0"/>
                </a:lnTo>
                <a:lnTo>
                  <a:pt x="5974876" y="76902"/>
                </a:lnTo>
                <a:lnTo>
                  <a:pt x="5966808" y="114491"/>
                </a:lnTo>
                <a:cubicBezTo>
                  <a:pt x="5433616" y="2286012"/>
                  <a:pt x="3238581" y="3953146"/>
                  <a:pt x="537297" y="4153055"/>
                </a:cubicBezTo>
                <a:lnTo>
                  <a:pt x="331985" y="4164435"/>
                </a:lnTo>
                <a:lnTo>
                  <a:pt x="0" y="4164435"/>
                </a:lnTo>
                <a:close/>
              </a:path>
            </a:pathLst>
          </a:custGeom>
        </p:spPr>
      </p:pic>
      <p:sp>
        <p:nvSpPr>
          <p:cNvPr id="40" name="TextBox 39">
            <a:extLst>
              <a:ext uri="{FF2B5EF4-FFF2-40B4-BE49-F238E27FC236}">
                <a16:creationId xmlns:a16="http://schemas.microsoft.com/office/drawing/2014/main" id="{1489E1D0-88F2-4FAD-9094-E825D6710F7B}"/>
              </a:ext>
            </a:extLst>
          </p:cNvPr>
          <p:cNvSpPr txBox="1"/>
          <p:nvPr/>
        </p:nvSpPr>
        <p:spPr>
          <a:xfrm>
            <a:off x="5632704" y="4088049"/>
            <a:ext cx="6345705" cy="2764720"/>
          </a:xfrm>
          <a:prstGeom prst="rect">
            <a:avLst/>
          </a:prstGeom>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B.Tech (CSE) | MS in ML&amp;AI</a:t>
            </a:r>
          </a:p>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AWS Certified ML Specialist </a:t>
            </a:r>
          </a:p>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1 yr Advanced certification in Generative AI</a:t>
            </a:r>
          </a:p>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6+ yrs. Training experience in  AI/</a:t>
            </a:r>
            <a:r>
              <a:rPr lang="en-US" sz="2000" b="1" dirty="0" err="1">
                <a:solidFill>
                  <a:schemeClr val="tx2"/>
                </a:solidFill>
              </a:rPr>
              <a:t>GenAI</a:t>
            </a:r>
            <a:r>
              <a:rPr lang="en-US" sz="2000" b="1" dirty="0">
                <a:solidFill>
                  <a:schemeClr val="tx2"/>
                </a:solidFill>
              </a:rPr>
              <a:t>/AWS </a:t>
            </a:r>
          </a:p>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12+ IT experience in Banking, E-Commerce, Insurance etc .</a:t>
            </a:r>
          </a:p>
          <a:p>
            <a:pPr indent="-228600" defTabSz="914400">
              <a:lnSpc>
                <a:spcPct val="110000"/>
              </a:lnSpc>
              <a:spcAft>
                <a:spcPts val="600"/>
              </a:spcAft>
              <a:buClr>
                <a:schemeClr val="accent5"/>
              </a:buClr>
              <a:buFont typeface="Avenir Next LT Pro" panose="020B0504020202020204" pitchFamily="34" charset="0"/>
              <a:buChar char="+"/>
            </a:pPr>
            <a:r>
              <a:rPr lang="en-US" sz="2000" b="1" dirty="0">
                <a:solidFill>
                  <a:schemeClr val="tx2"/>
                </a:solidFill>
              </a:rPr>
              <a:t>Experienced Lead Data Scientist   </a:t>
            </a:r>
          </a:p>
          <a:p>
            <a:pPr indent="-228600" defTabSz="914400">
              <a:lnSpc>
                <a:spcPct val="110000"/>
              </a:lnSpc>
              <a:spcAft>
                <a:spcPts val="600"/>
              </a:spcAft>
              <a:buClr>
                <a:schemeClr val="accent5"/>
              </a:buClr>
              <a:buFont typeface="Avenir Next LT Pro" panose="020B0504020202020204" pitchFamily="34" charset="0"/>
              <a:buChar char="+"/>
            </a:pPr>
            <a:endParaRPr lang="en-US" dirty="0">
              <a:solidFill>
                <a:schemeClr val="tx2"/>
              </a:solidFill>
            </a:endParaRPr>
          </a:p>
        </p:txBody>
      </p:sp>
    </p:spTree>
    <p:extLst>
      <p:ext uri="{BB962C8B-B14F-4D97-AF65-F5344CB8AC3E}">
        <p14:creationId xmlns:p14="http://schemas.microsoft.com/office/powerpoint/2010/main" val="1092028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1A82F57B-A0FD-4B62-4FBE-C4DDF244DC1F}"/>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ore Architectural </a:t>
            </a:r>
            <a:r>
              <a:rPr lang="en-US" sz="2800" b="1" dirty="0">
                <a:solidFill>
                  <a:prstClr val="black"/>
                </a:solidFill>
                <a:latin typeface="Arial" panose="020B0604020202020204" pitchFamily="34" charset="0"/>
                <a:cs typeface="Arial" panose="020B0604020202020204" pitchFamily="34" charset="0"/>
              </a:rPr>
              <a:t>C</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omponents</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graphicFrame>
        <p:nvGraphicFramePr>
          <p:cNvPr id="2" name="Content Placeholder 3">
            <a:extLst>
              <a:ext uri="{FF2B5EF4-FFF2-40B4-BE49-F238E27FC236}">
                <a16:creationId xmlns:a16="http://schemas.microsoft.com/office/drawing/2014/main" id="{E909C544-F864-6ED8-AC35-B7327A6C1D54}"/>
              </a:ext>
            </a:extLst>
          </p:cNvPr>
          <p:cNvGraphicFramePr>
            <a:graphicFrameLocks/>
          </p:cNvGraphicFramePr>
          <p:nvPr>
            <p:extLst>
              <p:ext uri="{D42A27DB-BD31-4B8C-83A1-F6EECF244321}">
                <p14:modId xmlns:p14="http://schemas.microsoft.com/office/powerpoint/2010/main" val="1391495070"/>
              </p:ext>
            </p:extLst>
          </p:nvPr>
        </p:nvGraphicFramePr>
        <p:xfrm>
          <a:off x="892099" y="2175858"/>
          <a:ext cx="10490276" cy="29728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A8AE40B3-D8EF-4872-2DF0-EE2E2F843AA0}"/>
              </a:ext>
            </a:extLst>
          </p:cNvPr>
          <p:cNvGrpSpPr/>
          <p:nvPr/>
        </p:nvGrpSpPr>
        <p:grpSpPr>
          <a:xfrm>
            <a:off x="809625" y="1600200"/>
            <a:ext cx="10572750" cy="404184"/>
            <a:chOff x="0" y="444"/>
            <a:chExt cx="10572750" cy="404184"/>
          </a:xfrm>
        </p:grpSpPr>
        <p:sp>
          <p:nvSpPr>
            <p:cNvPr id="5" name="Rectangle 4">
              <a:extLst>
                <a:ext uri="{FF2B5EF4-FFF2-40B4-BE49-F238E27FC236}">
                  <a16:creationId xmlns:a16="http://schemas.microsoft.com/office/drawing/2014/main" id="{10CDB1C7-C6AD-C559-6AF3-42F23293EB28}"/>
                </a:ext>
              </a:extLst>
            </p:cNvPr>
            <p:cNvSpPr/>
            <p:nvPr/>
          </p:nvSpPr>
          <p:spPr>
            <a:xfrm>
              <a:off x="0" y="444"/>
              <a:ext cx="10572750" cy="4041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6" name="TextBox 5">
              <a:extLst>
                <a:ext uri="{FF2B5EF4-FFF2-40B4-BE49-F238E27FC236}">
                  <a16:creationId xmlns:a16="http://schemas.microsoft.com/office/drawing/2014/main" id="{77DF3C20-42EE-E80C-E946-53771748BD72}"/>
                </a:ext>
              </a:extLst>
            </p:cNvPr>
            <p:cNvSpPr txBox="1"/>
            <p:nvPr/>
          </p:nvSpPr>
          <p:spPr>
            <a:xfrm>
              <a:off x="0" y="444"/>
              <a:ext cx="10572750" cy="40418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IN" sz="1800" b="1" i="0" kern="1200" dirty="0"/>
                <a:t>The Agent2Agent protocol consists of several building blocks for agent interactions:</a:t>
              </a:r>
              <a:endParaRPr lang="en-IN" sz="1800" b="1" kern="1200" dirty="0"/>
            </a:p>
          </p:txBody>
        </p:sp>
      </p:grpSp>
    </p:spTree>
    <p:extLst>
      <p:ext uri="{BB962C8B-B14F-4D97-AF65-F5344CB8AC3E}">
        <p14:creationId xmlns:p14="http://schemas.microsoft.com/office/powerpoint/2010/main" val="6337569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EDABD5C-56CA-3CA2-ECDB-019A7496FF6F}"/>
              </a:ext>
            </a:extLst>
          </p:cNvPr>
          <p:cNvGraphicFramePr>
            <a:graphicFrameLocks/>
          </p:cNvGraphicFramePr>
          <p:nvPr>
            <p:extLst>
              <p:ext uri="{D42A27DB-BD31-4B8C-83A1-F6EECF244321}">
                <p14:modId xmlns:p14="http://schemas.microsoft.com/office/powerpoint/2010/main" val="1511599100"/>
              </p:ext>
            </p:extLst>
          </p:nvPr>
        </p:nvGraphicFramePr>
        <p:xfrm>
          <a:off x="464634" y="636549"/>
          <a:ext cx="11262731" cy="5584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AA244888-A0F4-5596-DD2D-90F1F580325D}"/>
              </a:ext>
            </a:extLst>
          </p:cNvPr>
          <p:cNvSpPr/>
          <p:nvPr/>
        </p:nvSpPr>
        <p:spPr>
          <a:xfrm>
            <a:off x="809625" y="2312508"/>
            <a:ext cx="10572750" cy="4041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Tree>
    <p:extLst>
      <p:ext uri="{BB962C8B-B14F-4D97-AF65-F5344CB8AC3E}">
        <p14:creationId xmlns:p14="http://schemas.microsoft.com/office/powerpoint/2010/main" val="6335952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D774DF9-7F98-EA13-2883-C7B9094E8D79}"/>
              </a:ext>
            </a:extLst>
          </p:cNvPr>
          <p:cNvGraphicFramePr>
            <a:graphicFrameLocks/>
          </p:cNvGraphicFramePr>
          <p:nvPr>
            <p:extLst>
              <p:ext uri="{D42A27DB-BD31-4B8C-83A1-F6EECF244321}">
                <p14:modId xmlns:p14="http://schemas.microsoft.com/office/powerpoint/2010/main" val="13353821"/>
              </p:ext>
            </p:extLst>
          </p:nvPr>
        </p:nvGraphicFramePr>
        <p:xfrm>
          <a:off x="459058" y="665356"/>
          <a:ext cx="11273884" cy="55272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83171B56-A3FA-5E7B-FDCD-DA8A29F8780F}"/>
              </a:ext>
            </a:extLst>
          </p:cNvPr>
          <p:cNvSpPr/>
          <p:nvPr/>
        </p:nvSpPr>
        <p:spPr>
          <a:xfrm>
            <a:off x="809625" y="2312508"/>
            <a:ext cx="10572750" cy="4041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Tree>
    <p:extLst>
      <p:ext uri="{BB962C8B-B14F-4D97-AF65-F5344CB8AC3E}">
        <p14:creationId xmlns:p14="http://schemas.microsoft.com/office/powerpoint/2010/main" val="13155857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656930"/>
              <a:ext cx="8174476" cy="4347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A2A (Agent-to-Agent) Protocol</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9412373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A2A (Agent2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Rounded Corners 1">
            <a:extLst>
              <a:ext uri="{FF2B5EF4-FFF2-40B4-BE49-F238E27FC236}">
                <a16:creationId xmlns:a16="http://schemas.microsoft.com/office/drawing/2014/main" id="{E51E1714-CAC4-C1BB-8F1F-B1155406404F}"/>
              </a:ext>
            </a:extLst>
          </p:cNvPr>
          <p:cNvSpPr/>
          <p:nvPr/>
        </p:nvSpPr>
        <p:spPr>
          <a:xfrm>
            <a:off x="457200" y="1078029"/>
            <a:ext cx="11112366" cy="49417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7314ACE0-1F6A-8841-9EDC-78B9ECFCD3FF}"/>
              </a:ext>
            </a:extLst>
          </p:cNvPr>
          <p:cNvSpPr txBox="1">
            <a:spLocks/>
          </p:cNvSpPr>
          <p:nvPr/>
        </p:nvSpPr>
        <p:spPr>
          <a:xfrm>
            <a:off x="635686" y="1981200"/>
            <a:ext cx="10571998" cy="363876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buFont typeface="Wingdings" panose="05000000000000000000" pitchFamily="2" charset="2"/>
              <a:buChar char="v"/>
            </a:pPr>
            <a:r>
              <a:rPr lang="en-IN" sz="1800" dirty="0">
                <a:latin typeface="Arial" panose="020B0604020202020204" pitchFamily="34" charset="0"/>
                <a:cs typeface="Arial" panose="020B0604020202020204" pitchFamily="34" charset="0"/>
              </a:rPr>
              <a:t>The Agent2Agent (A2A) protocol is a communication protocol for </a:t>
            </a:r>
            <a:r>
              <a:rPr lang="en-IN" sz="1800" dirty="0">
                <a:latin typeface="Arial" panose="020B0604020202020204" pitchFamily="34" charset="0"/>
                <a:cs typeface="Arial" panose="020B0604020202020204" pitchFamily="34" charset="0"/>
                <a:hlinkClick r:id="rId4"/>
              </a:rPr>
              <a:t>artificial intelligence (AI)</a:t>
            </a:r>
            <a:r>
              <a:rPr lang="en-IN" sz="1800" dirty="0">
                <a:latin typeface="Arial" panose="020B0604020202020204" pitchFamily="34" charset="0"/>
                <a:cs typeface="Arial" panose="020B0604020202020204" pitchFamily="34" charset="0"/>
              </a:rPr>
              <a:t> agents, initially introduced by Google in April 2025. This open protocol is designed for </a:t>
            </a:r>
            <a:r>
              <a:rPr lang="en-IN" sz="1800" dirty="0">
                <a:latin typeface="Arial" panose="020B0604020202020204" pitchFamily="34" charset="0"/>
                <a:cs typeface="Arial" panose="020B0604020202020204" pitchFamily="34" charset="0"/>
                <a:hlinkClick r:id="rId5"/>
              </a:rPr>
              <a:t>multi-agent systems</a:t>
            </a:r>
            <a:r>
              <a:rPr lang="en-IN" sz="1800" dirty="0">
                <a:latin typeface="Arial" panose="020B0604020202020204" pitchFamily="34" charset="0"/>
                <a:cs typeface="Arial" panose="020B0604020202020204" pitchFamily="34" charset="0"/>
              </a:rPr>
              <a:t>, allowing </a:t>
            </a:r>
            <a:r>
              <a:rPr lang="en-IN" sz="1800" dirty="0">
                <a:latin typeface="Arial" panose="020B0604020202020204" pitchFamily="34" charset="0"/>
                <a:cs typeface="Arial" panose="020B0604020202020204" pitchFamily="34" charset="0"/>
                <a:hlinkClick r:id="rId6"/>
              </a:rPr>
              <a:t>interoperability</a:t>
            </a:r>
            <a:r>
              <a:rPr lang="en-IN" sz="1800" dirty="0">
                <a:latin typeface="Arial" panose="020B0604020202020204" pitchFamily="34" charset="0"/>
                <a:cs typeface="Arial" panose="020B0604020202020204" pitchFamily="34" charset="0"/>
              </a:rPr>
              <a:t> between </a:t>
            </a:r>
            <a:r>
              <a:rPr lang="en-IN" sz="1800" dirty="0">
                <a:latin typeface="Arial" panose="020B0604020202020204" pitchFamily="34" charset="0"/>
                <a:cs typeface="Arial" panose="020B0604020202020204" pitchFamily="34" charset="0"/>
                <a:hlinkClick r:id="rId7"/>
              </a:rPr>
              <a:t>AI agents</a:t>
            </a:r>
            <a:r>
              <a:rPr lang="en-IN" sz="1800" dirty="0">
                <a:latin typeface="Arial" panose="020B0604020202020204" pitchFamily="34" charset="0"/>
                <a:cs typeface="Arial" panose="020B0604020202020204" pitchFamily="34" charset="0"/>
              </a:rPr>
              <a:t> from varied providers or those built using different </a:t>
            </a:r>
            <a:r>
              <a:rPr lang="en-IN" sz="1800" dirty="0">
                <a:latin typeface="Arial" panose="020B0604020202020204" pitchFamily="34" charset="0"/>
                <a:cs typeface="Arial" panose="020B0604020202020204" pitchFamily="34" charset="0"/>
                <a:hlinkClick r:id="rId8"/>
              </a:rPr>
              <a:t>AI agent frameworks</a:t>
            </a:r>
            <a:r>
              <a:rPr lang="en-IN" sz="1800" dirty="0">
                <a:latin typeface="Arial" panose="020B0604020202020204" pitchFamily="34" charset="0"/>
                <a:cs typeface="Arial" panose="020B0604020202020204" pitchFamily="34" charset="0"/>
              </a:rPr>
              <a:t>.</a:t>
            </a:r>
          </a:p>
          <a:p>
            <a:pPr fontAlgn="base">
              <a:buFont typeface="Wingdings" panose="05000000000000000000" pitchFamily="2" charset="2"/>
              <a:buChar char="v"/>
            </a:pPr>
            <a:endParaRPr lang="en-IN" sz="18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IN" sz="1800" b="1" dirty="0">
                <a:latin typeface="Arial" panose="020B0604020202020204" pitchFamily="34" charset="0"/>
                <a:ea typeface="Tahoma" panose="020B0604030504040204" pitchFamily="34" charset="0"/>
                <a:cs typeface="Arial" panose="020B0604020202020204" pitchFamily="34" charset="0"/>
              </a:rPr>
              <a:t>Purpose:</a:t>
            </a:r>
            <a:r>
              <a:rPr lang="en-IN" sz="1800" dirty="0">
                <a:latin typeface="Arial" panose="020B0604020202020204" pitchFamily="34" charset="0"/>
                <a:ea typeface="Tahoma" panose="020B0604030504040204" pitchFamily="34" charset="0"/>
                <a:cs typeface="Arial" panose="020B0604020202020204" pitchFamily="34" charset="0"/>
              </a:rPr>
              <a:t> allow agents to discover each other, send tasks/messages, share outputs, coordinate workflows.</a:t>
            </a:r>
          </a:p>
          <a:p>
            <a:pPr>
              <a:buFont typeface="Wingdings" panose="05000000000000000000" pitchFamily="2" charset="2"/>
              <a:buChar char="v"/>
            </a:pPr>
            <a:endParaRPr lang="en-IN" sz="1800" dirty="0">
              <a:latin typeface="Arial" panose="020B0604020202020204" pitchFamily="34" charset="0"/>
              <a:ea typeface="Tahoma" panose="020B0604030504040204" pitchFamily="34" charset="0"/>
              <a:cs typeface="Arial" panose="020B0604020202020204" pitchFamily="34" charset="0"/>
            </a:endParaRPr>
          </a:p>
          <a:p>
            <a:pPr>
              <a:buFont typeface="Wingdings" panose="05000000000000000000" pitchFamily="2" charset="2"/>
              <a:buChar char="v"/>
            </a:pPr>
            <a:r>
              <a:rPr lang="en-IN" sz="1800" dirty="0">
                <a:latin typeface="Arial" panose="020B0604020202020204" pitchFamily="34" charset="0"/>
                <a:ea typeface="Tahoma" panose="020B0604030504040204" pitchFamily="34" charset="0"/>
                <a:cs typeface="Arial" panose="020B0604020202020204" pitchFamily="34" charset="0"/>
              </a:rPr>
              <a:t>Works over standard channels (e.g. </a:t>
            </a:r>
            <a:r>
              <a:rPr lang="en-IN" sz="1800" b="1" dirty="0">
                <a:latin typeface="Arial" panose="020B0604020202020204" pitchFamily="34" charset="0"/>
                <a:ea typeface="Tahoma" panose="020B0604030504040204" pitchFamily="34" charset="0"/>
                <a:cs typeface="Arial" panose="020B0604020202020204" pitchFamily="34" charset="0"/>
              </a:rPr>
              <a:t>HTTPS + JSON-RPC </a:t>
            </a:r>
            <a:r>
              <a:rPr lang="en-IN" sz="1800" dirty="0">
                <a:latin typeface="Arial" panose="020B0604020202020204" pitchFamily="34" charset="0"/>
                <a:ea typeface="Tahoma" panose="020B0604030504040204" pitchFamily="34" charset="0"/>
                <a:cs typeface="Arial" panose="020B0604020202020204" pitchFamily="34" charset="0"/>
              </a:rPr>
              <a:t>/ structured messaging) for secure, interoperable data exchange. </a:t>
            </a:r>
            <a:endParaRPr lang="en-US" sz="18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6458482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24B148DD-EC2F-A557-69A5-BAC464D27F2C}"/>
              </a:ext>
            </a:extLst>
          </p:cNvPr>
          <p:cNvSpPr/>
          <p:nvPr/>
        </p:nvSpPr>
        <p:spPr>
          <a:xfrm>
            <a:off x="6092926" y="3733800"/>
            <a:ext cx="3549483" cy="2732049"/>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288EAD4F-92D0-7340-3097-7C2F2EB22D20}"/>
              </a:ext>
            </a:extLst>
          </p:cNvPr>
          <p:cNvSpPr/>
          <p:nvPr/>
        </p:nvSpPr>
        <p:spPr>
          <a:xfrm>
            <a:off x="6043962" y="293898"/>
            <a:ext cx="3549483" cy="2732049"/>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E6F8022F-A815-F17C-614B-23B9AD437C8B}"/>
              </a:ext>
            </a:extLst>
          </p:cNvPr>
          <p:cNvSpPr/>
          <p:nvPr/>
        </p:nvSpPr>
        <p:spPr>
          <a:xfrm>
            <a:off x="1449659" y="2820937"/>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Personal Agent</a:t>
            </a:r>
          </a:p>
          <a:p>
            <a:pPr algn="ctr"/>
            <a:endParaRPr lang="en-IN" dirty="0"/>
          </a:p>
        </p:txBody>
      </p:sp>
      <p:pic>
        <p:nvPicPr>
          <p:cNvPr id="9" name="Picture 8" descr="A colorful logo with arrows&#10;&#10;AI-generated content may be incorrect.">
            <a:extLst>
              <a:ext uri="{FF2B5EF4-FFF2-40B4-BE49-F238E27FC236}">
                <a16:creationId xmlns:a16="http://schemas.microsoft.com/office/drawing/2014/main" id="{5E086026-7080-41B3-AF87-25768A482192}"/>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2085278" y="3423104"/>
            <a:ext cx="1594625" cy="1460810"/>
          </a:xfrm>
          <a:prstGeom prst="rect">
            <a:avLst/>
          </a:prstGeom>
        </p:spPr>
      </p:pic>
      <p:sp>
        <p:nvSpPr>
          <p:cNvPr id="10" name="TextBox 9">
            <a:extLst>
              <a:ext uri="{FF2B5EF4-FFF2-40B4-BE49-F238E27FC236}">
                <a16:creationId xmlns:a16="http://schemas.microsoft.com/office/drawing/2014/main" id="{D806B6A0-9F37-C709-42EC-50C8727AE28C}"/>
              </a:ext>
            </a:extLst>
          </p:cNvPr>
          <p:cNvSpPr txBox="1"/>
          <p:nvPr/>
        </p:nvSpPr>
        <p:spPr>
          <a:xfrm>
            <a:off x="1862253" y="4883913"/>
            <a:ext cx="2018371" cy="369332"/>
          </a:xfrm>
          <a:prstGeom prst="rect">
            <a:avLst/>
          </a:prstGeom>
          <a:noFill/>
        </p:spPr>
        <p:txBody>
          <a:bodyPr wrap="square" rtlCol="0">
            <a:spAutoFit/>
          </a:bodyPr>
          <a:lstStyle/>
          <a:p>
            <a:pPr algn="ctr"/>
            <a:r>
              <a:rPr lang="en-US" dirty="0"/>
              <a:t>Client</a:t>
            </a:r>
            <a:endParaRPr lang="en-IN" dirty="0"/>
          </a:p>
        </p:txBody>
      </p:sp>
      <p:sp>
        <p:nvSpPr>
          <p:cNvPr id="11" name="Rectangle: Rounded Corners 10">
            <a:extLst>
              <a:ext uri="{FF2B5EF4-FFF2-40B4-BE49-F238E27FC236}">
                <a16:creationId xmlns:a16="http://schemas.microsoft.com/office/drawing/2014/main" id="{FFBE698B-3C13-99F9-665F-91E83CD7CD9E}"/>
              </a:ext>
            </a:extLst>
          </p:cNvPr>
          <p:cNvSpPr/>
          <p:nvPr/>
        </p:nvSpPr>
        <p:spPr>
          <a:xfrm>
            <a:off x="6341649" y="756178"/>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Hotel Agent</a:t>
            </a:r>
          </a:p>
          <a:p>
            <a:pPr algn="ctr"/>
            <a:endParaRPr lang="en-IN" dirty="0"/>
          </a:p>
        </p:txBody>
      </p:sp>
      <p:pic>
        <p:nvPicPr>
          <p:cNvPr id="12" name="Picture 11">
            <a:extLst>
              <a:ext uri="{FF2B5EF4-FFF2-40B4-BE49-F238E27FC236}">
                <a16:creationId xmlns:a16="http://schemas.microsoft.com/office/drawing/2014/main" id="{CD9396A2-581C-943F-A500-0525E57C3257}"/>
              </a:ext>
            </a:extLst>
          </p:cNvPr>
          <p:cNvPicPr>
            <a:picLocks noChangeAspect="1"/>
          </p:cNvPicPr>
          <p:nvPr/>
        </p:nvPicPr>
        <p:blipFill>
          <a:blip r:embed="rId5">
            <a:extLst>
              <a:ext uri="{837473B0-CC2E-450A-ABE3-18F120FF3D39}">
                <a1611:picAttrSrcUrl xmlns:a1611="http://schemas.microsoft.com/office/drawing/2016/11/main" r:id="rId6"/>
              </a:ext>
            </a:extLst>
          </a:blip>
          <a:srcRect/>
          <a:stretch/>
        </p:blipFill>
        <p:spPr>
          <a:xfrm>
            <a:off x="7222595" y="1515206"/>
            <a:ext cx="1252334" cy="1252334"/>
          </a:xfrm>
          <a:prstGeom prst="rect">
            <a:avLst/>
          </a:prstGeom>
        </p:spPr>
      </p:pic>
      <p:sp>
        <p:nvSpPr>
          <p:cNvPr id="13" name="TextBox 12">
            <a:extLst>
              <a:ext uri="{FF2B5EF4-FFF2-40B4-BE49-F238E27FC236}">
                <a16:creationId xmlns:a16="http://schemas.microsoft.com/office/drawing/2014/main" id="{49B5A5A7-F84B-60CE-74CE-E30D3203D969}"/>
              </a:ext>
            </a:extLst>
          </p:cNvPr>
          <p:cNvSpPr txBox="1"/>
          <p:nvPr/>
        </p:nvSpPr>
        <p:spPr>
          <a:xfrm>
            <a:off x="6754242" y="386846"/>
            <a:ext cx="2018371" cy="369332"/>
          </a:xfrm>
          <a:prstGeom prst="rect">
            <a:avLst/>
          </a:prstGeom>
          <a:noFill/>
        </p:spPr>
        <p:txBody>
          <a:bodyPr wrap="square" rtlCol="0">
            <a:spAutoFit/>
          </a:bodyPr>
          <a:lstStyle/>
          <a:p>
            <a:pPr algn="ctr"/>
            <a:r>
              <a:rPr lang="en-US" dirty="0">
                <a:solidFill>
                  <a:schemeClr val="bg1"/>
                </a:solidFill>
              </a:rPr>
              <a:t>Remote</a:t>
            </a:r>
            <a:endParaRPr lang="en-IN" dirty="0">
              <a:solidFill>
                <a:schemeClr val="bg1"/>
              </a:solidFill>
            </a:endParaRPr>
          </a:p>
        </p:txBody>
      </p:sp>
      <p:sp>
        <p:nvSpPr>
          <p:cNvPr id="14" name="Rectangle: Rounded Corners 13">
            <a:extLst>
              <a:ext uri="{FF2B5EF4-FFF2-40B4-BE49-F238E27FC236}">
                <a16:creationId xmlns:a16="http://schemas.microsoft.com/office/drawing/2014/main" id="{4E63C691-990F-6B63-43A7-5FACE151B13E}"/>
              </a:ext>
            </a:extLst>
          </p:cNvPr>
          <p:cNvSpPr/>
          <p:nvPr/>
        </p:nvSpPr>
        <p:spPr>
          <a:xfrm>
            <a:off x="6341649" y="4207158"/>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Car Rental Agent</a:t>
            </a:r>
          </a:p>
          <a:p>
            <a:pPr algn="ctr"/>
            <a:endParaRPr lang="en-IN" dirty="0"/>
          </a:p>
        </p:txBody>
      </p:sp>
      <p:pic>
        <p:nvPicPr>
          <p:cNvPr id="15" name="Picture 14">
            <a:extLst>
              <a:ext uri="{FF2B5EF4-FFF2-40B4-BE49-F238E27FC236}">
                <a16:creationId xmlns:a16="http://schemas.microsoft.com/office/drawing/2014/main" id="{F9EB42CB-4C1A-01F6-7CA4-0E40EBF1CEED}"/>
              </a:ext>
            </a:extLst>
          </p:cNvPr>
          <p:cNvPicPr>
            <a:picLocks noChangeAspect="1"/>
          </p:cNvPicPr>
          <p:nvPr/>
        </p:nvPicPr>
        <p:blipFill>
          <a:blip r:embed="rId7">
            <a:extLst>
              <a:ext uri="{837473B0-CC2E-450A-ABE3-18F120FF3D39}">
                <a1611:picAttrSrcUrl xmlns:a1611="http://schemas.microsoft.com/office/drawing/2016/11/main" r:id="rId8"/>
              </a:ext>
            </a:extLst>
          </a:blip>
          <a:srcRect/>
          <a:stretch/>
        </p:blipFill>
        <p:spPr>
          <a:xfrm>
            <a:off x="7155118" y="4780876"/>
            <a:ext cx="1238924" cy="1238924"/>
          </a:xfrm>
          <a:prstGeom prst="rect">
            <a:avLst/>
          </a:prstGeom>
        </p:spPr>
      </p:pic>
      <p:sp>
        <p:nvSpPr>
          <p:cNvPr id="16" name="TextBox 15">
            <a:extLst>
              <a:ext uri="{FF2B5EF4-FFF2-40B4-BE49-F238E27FC236}">
                <a16:creationId xmlns:a16="http://schemas.microsoft.com/office/drawing/2014/main" id="{DA1E825D-231A-D0A3-BDDD-94B05BAC3F20}"/>
              </a:ext>
            </a:extLst>
          </p:cNvPr>
          <p:cNvSpPr txBox="1"/>
          <p:nvPr/>
        </p:nvSpPr>
        <p:spPr>
          <a:xfrm>
            <a:off x="6754242" y="6183374"/>
            <a:ext cx="2018371" cy="369332"/>
          </a:xfrm>
          <a:prstGeom prst="rect">
            <a:avLst/>
          </a:prstGeom>
          <a:noFill/>
        </p:spPr>
        <p:txBody>
          <a:bodyPr wrap="square" rtlCol="0">
            <a:spAutoFit/>
          </a:bodyPr>
          <a:lstStyle/>
          <a:p>
            <a:pPr algn="ctr"/>
            <a:r>
              <a:rPr lang="en-US" dirty="0"/>
              <a:t>Remote</a:t>
            </a:r>
          </a:p>
        </p:txBody>
      </p:sp>
      <p:sp>
        <p:nvSpPr>
          <p:cNvPr id="22" name="TextBox 21">
            <a:extLst>
              <a:ext uri="{FF2B5EF4-FFF2-40B4-BE49-F238E27FC236}">
                <a16:creationId xmlns:a16="http://schemas.microsoft.com/office/drawing/2014/main" id="{453533CB-75CC-2FBA-DBD4-6AF36DA9B19B}"/>
              </a:ext>
            </a:extLst>
          </p:cNvPr>
          <p:cNvSpPr txBox="1"/>
          <p:nvPr/>
        </p:nvSpPr>
        <p:spPr>
          <a:xfrm>
            <a:off x="4802476" y="2655886"/>
            <a:ext cx="1134499" cy="400110"/>
          </a:xfrm>
          <a:prstGeom prst="rect">
            <a:avLst/>
          </a:prstGeom>
          <a:noFill/>
        </p:spPr>
        <p:txBody>
          <a:bodyPr wrap="square" rtlCol="0">
            <a:spAutoFit/>
          </a:bodyPr>
          <a:lstStyle/>
          <a:p>
            <a:r>
              <a:rPr lang="en-US" sz="2000" dirty="0"/>
              <a:t>HTTPS</a:t>
            </a:r>
            <a:endParaRPr lang="en-IN" sz="2000" dirty="0"/>
          </a:p>
        </p:txBody>
      </p:sp>
      <p:sp>
        <p:nvSpPr>
          <p:cNvPr id="17" name="TextBox 16">
            <a:extLst>
              <a:ext uri="{FF2B5EF4-FFF2-40B4-BE49-F238E27FC236}">
                <a16:creationId xmlns:a16="http://schemas.microsoft.com/office/drawing/2014/main" id="{31199461-7C75-37AD-2CCE-D5934EBAE817}"/>
              </a:ext>
            </a:extLst>
          </p:cNvPr>
          <p:cNvSpPr txBox="1"/>
          <p:nvPr/>
        </p:nvSpPr>
        <p:spPr>
          <a:xfrm>
            <a:off x="6556919" y="-29488"/>
            <a:ext cx="2486722" cy="369332"/>
          </a:xfrm>
          <a:prstGeom prst="rect">
            <a:avLst/>
          </a:prstGeom>
          <a:noFill/>
        </p:spPr>
        <p:txBody>
          <a:bodyPr wrap="square" rtlCol="0">
            <a:spAutoFit/>
          </a:bodyPr>
          <a:lstStyle/>
          <a:p>
            <a:pPr algn="ctr"/>
            <a:r>
              <a:rPr lang="en-US" dirty="0">
                <a:solidFill>
                  <a:srgbClr val="0070C0"/>
                </a:solidFill>
              </a:rPr>
              <a:t>A2A Agent</a:t>
            </a:r>
            <a:endParaRPr lang="en-IN" dirty="0">
              <a:solidFill>
                <a:srgbClr val="0070C0"/>
              </a:solidFill>
            </a:endParaRPr>
          </a:p>
        </p:txBody>
      </p:sp>
      <p:sp>
        <p:nvSpPr>
          <p:cNvPr id="19" name="TextBox 18">
            <a:extLst>
              <a:ext uri="{FF2B5EF4-FFF2-40B4-BE49-F238E27FC236}">
                <a16:creationId xmlns:a16="http://schemas.microsoft.com/office/drawing/2014/main" id="{87094860-E2C9-2FB3-582D-C4638505E505}"/>
              </a:ext>
            </a:extLst>
          </p:cNvPr>
          <p:cNvSpPr txBox="1"/>
          <p:nvPr/>
        </p:nvSpPr>
        <p:spPr>
          <a:xfrm>
            <a:off x="6556919" y="3316847"/>
            <a:ext cx="2486722" cy="369332"/>
          </a:xfrm>
          <a:prstGeom prst="rect">
            <a:avLst/>
          </a:prstGeom>
          <a:noFill/>
        </p:spPr>
        <p:txBody>
          <a:bodyPr wrap="square" rtlCol="0">
            <a:spAutoFit/>
          </a:bodyPr>
          <a:lstStyle/>
          <a:p>
            <a:pPr algn="ctr"/>
            <a:r>
              <a:rPr lang="en-US" dirty="0">
                <a:solidFill>
                  <a:schemeClr val="accent4">
                    <a:lumMod val="75000"/>
                  </a:schemeClr>
                </a:solidFill>
              </a:rPr>
              <a:t>A2A Agent</a:t>
            </a:r>
            <a:endParaRPr lang="en-IN" dirty="0">
              <a:solidFill>
                <a:schemeClr val="accent4">
                  <a:lumMod val="75000"/>
                </a:schemeClr>
              </a:solidFill>
            </a:endParaRPr>
          </a:p>
        </p:txBody>
      </p:sp>
      <p:sp>
        <p:nvSpPr>
          <p:cNvPr id="26" name="Rectangle: Rounded Corners 25">
            <a:extLst>
              <a:ext uri="{FF2B5EF4-FFF2-40B4-BE49-F238E27FC236}">
                <a16:creationId xmlns:a16="http://schemas.microsoft.com/office/drawing/2014/main" id="{EDBD9376-4324-D364-67E0-FF3ACD72506A}"/>
              </a:ext>
            </a:extLst>
          </p:cNvPr>
          <p:cNvSpPr/>
          <p:nvPr/>
        </p:nvSpPr>
        <p:spPr>
          <a:xfrm rot="20163687">
            <a:off x="4371277" y="2112273"/>
            <a:ext cx="1342507" cy="400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essage</a:t>
            </a:r>
            <a:endParaRPr lang="en-IN" dirty="0"/>
          </a:p>
        </p:txBody>
      </p:sp>
      <p:cxnSp>
        <p:nvCxnSpPr>
          <p:cNvPr id="33" name="Straight Arrow Connector 32">
            <a:extLst>
              <a:ext uri="{FF2B5EF4-FFF2-40B4-BE49-F238E27FC236}">
                <a16:creationId xmlns:a16="http://schemas.microsoft.com/office/drawing/2014/main" id="{366933CD-84AC-D8D8-BDA5-1D1110A423AD}"/>
              </a:ext>
            </a:extLst>
          </p:cNvPr>
          <p:cNvCxnSpPr/>
          <p:nvPr/>
        </p:nvCxnSpPr>
        <p:spPr>
          <a:xfrm flipV="1">
            <a:off x="4347843" y="2312328"/>
            <a:ext cx="1618060" cy="7136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AA38F72-7537-2E33-CDFD-C89DC4EF7509}"/>
              </a:ext>
            </a:extLst>
          </p:cNvPr>
          <p:cNvSpPr txBox="1"/>
          <p:nvPr/>
        </p:nvSpPr>
        <p:spPr>
          <a:xfrm>
            <a:off x="992459" y="5765181"/>
            <a:ext cx="4230672" cy="646331"/>
          </a:xfrm>
          <a:prstGeom prst="rect">
            <a:avLst/>
          </a:prstGeom>
          <a:noFill/>
        </p:spPr>
        <p:txBody>
          <a:bodyPr wrap="square" rtlCol="0">
            <a:spAutoFit/>
          </a:bodyPr>
          <a:lstStyle/>
          <a:p>
            <a:r>
              <a:rPr lang="en-US" dirty="0" err="1">
                <a:latin typeface="Consolas" panose="020B0609020204030204" pitchFamily="49" charset="0"/>
              </a:rPr>
              <a:t>Hotel_agent</a:t>
            </a:r>
            <a:r>
              <a:rPr lang="en-US" dirty="0">
                <a:latin typeface="Consolas" panose="020B0609020204030204" pitchFamily="49" charset="0"/>
              </a:rPr>
              <a:t>: localhost:1001</a:t>
            </a:r>
          </a:p>
          <a:p>
            <a:r>
              <a:rPr lang="en-US" dirty="0" err="1">
                <a:latin typeface="Consolas" panose="020B0609020204030204" pitchFamily="49" charset="0"/>
              </a:rPr>
              <a:t>Car_rental_agent</a:t>
            </a:r>
            <a:r>
              <a:rPr lang="en-US" dirty="0">
                <a:latin typeface="Consolas" panose="020B0609020204030204" pitchFamily="49" charset="0"/>
              </a:rPr>
              <a:t>: localhost:1002</a:t>
            </a:r>
            <a:endParaRPr lang="en-IN" dirty="0">
              <a:latin typeface="Consolas" panose="020B0609020204030204" pitchFamily="49" charset="0"/>
            </a:endParaRPr>
          </a:p>
        </p:txBody>
      </p:sp>
      <p:sp>
        <p:nvSpPr>
          <p:cNvPr id="35" name="TextBox 34">
            <a:extLst>
              <a:ext uri="{FF2B5EF4-FFF2-40B4-BE49-F238E27FC236}">
                <a16:creationId xmlns:a16="http://schemas.microsoft.com/office/drawing/2014/main" id="{A9885984-A295-F8B4-5318-50AF4377246F}"/>
              </a:ext>
            </a:extLst>
          </p:cNvPr>
          <p:cNvSpPr txBox="1"/>
          <p:nvPr/>
        </p:nvSpPr>
        <p:spPr>
          <a:xfrm rot="1207565">
            <a:off x="4703536" y="5128616"/>
            <a:ext cx="1146666" cy="400110"/>
          </a:xfrm>
          <a:prstGeom prst="rect">
            <a:avLst/>
          </a:prstGeom>
          <a:noFill/>
        </p:spPr>
        <p:txBody>
          <a:bodyPr wrap="square" rtlCol="0">
            <a:spAutoFit/>
          </a:bodyPr>
          <a:lstStyle/>
          <a:p>
            <a:r>
              <a:rPr lang="en-US" sz="2000" dirty="0"/>
              <a:t>HTTPS</a:t>
            </a:r>
            <a:endParaRPr lang="en-IN" sz="2000" dirty="0"/>
          </a:p>
        </p:txBody>
      </p:sp>
      <p:sp>
        <p:nvSpPr>
          <p:cNvPr id="36" name="Rectangle: Rounded Corners 35">
            <a:extLst>
              <a:ext uri="{FF2B5EF4-FFF2-40B4-BE49-F238E27FC236}">
                <a16:creationId xmlns:a16="http://schemas.microsoft.com/office/drawing/2014/main" id="{86D5A831-286E-E6C5-0B35-EA4D1206400F}"/>
              </a:ext>
            </a:extLst>
          </p:cNvPr>
          <p:cNvSpPr/>
          <p:nvPr/>
        </p:nvSpPr>
        <p:spPr>
          <a:xfrm rot="1154247">
            <a:off x="4463177" y="4439464"/>
            <a:ext cx="1342507" cy="400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essage</a:t>
            </a:r>
            <a:endParaRPr lang="en-IN" dirty="0"/>
          </a:p>
        </p:txBody>
      </p:sp>
      <p:cxnSp>
        <p:nvCxnSpPr>
          <p:cNvPr id="37" name="Straight Arrow Connector 36">
            <a:extLst>
              <a:ext uri="{FF2B5EF4-FFF2-40B4-BE49-F238E27FC236}">
                <a16:creationId xmlns:a16="http://schemas.microsoft.com/office/drawing/2014/main" id="{21F4BBEC-E267-8967-5285-382EFA2E1774}"/>
              </a:ext>
            </a:extLst>
          </p:cNvPr>
          <p:cNvCxnSpPr>
            <a:cxnSpLocks/>
          </p:cNvCxnSpPr>
          <p:nvPr/>
        </p:nvCxnSpPr>
        <p:spPr>
          <a:xfrm rot="2590560" flipV="1">
            <a:off x="4439743" y="4639519"/>
            <a:ext cx="1618060" cy="7136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72CCFF0-A3CE-59CA-24B8-BE8759E4AD21}"/>
              </a:ext>
            </a:extLst>
          </p:cNvPr>
          <p:cNvSpPr txBox="1"/>
          <p:nvPr/>
        </p:nvSpPr>
        <p:spPr>
          <a:xfrm>
            <a:off x="9842167" y="3025947"/>
            <a:ext cx="2234603" cy="1569660"/>
          </a:xfrm>
          <a:prstGeom prst="rect">
            <a:avLst/>
          </a:prstGeom>
          <a:noFill/>
        </p:spPr>
        <p:txBody>
          <a:bodyPr wrap="square" rtlCol="0">
            <a:spAutoFit/>
          </a:bodyPr>
          <a:lstStyle/>
          <a:p>
            <a:pPr marL="171450" indent="-171450">
              <a:buFont typeface="Wingdings" panose="05000000000000000000" pitchFamily="2" charset="2"/>
              <a:buChar char="Ø"/>
            </a:pPr>
            <a:r>
              <a:rPr lang="en-US" sz="1600" dirty="0"/>
              <a:t>What Can it do:</a:t>
            </a:r>
          </a:p>
          <a:p>
            <a:r>
              <a:rPr lang="en-US" sz="1600" dirty="0"/>
              <a:t>	</a:t>
            </a:r>
            <a:r>
              <a:rPr lang="en-US" sz="1600" dirty="0" err="1"/>
              <a:t>AgentCard</a:t>
            </a:r>
            <a:endParaRPr lang="en-US" sz="1600" dirty="0"/>
          </a:p>
          <a:p>
            <a:pPr marL="171450" indent="-171450">
              <a:buFont typeface="Wingdings" panose="05000000000000000000" pitchFamily="2" charset="2"/>
              <a:buChar char="Ø"/>
            </a:pPr>
            <a:r>
              <a:rPr lang="en-US" sz="1600" dirty="0"/>
              <a:t>Communication:</a:t>
            </a:r>
          </a:p>
          <a:p>
            <a:pPr lvl="1"/>
            <a:r>
              <a:rPr lang="en-US" sz="1600" dirty="0"/>
              <a:t>Messages</a:t>
            </a:r>
          </a:p>
          <a:p>
            <a:pPr marL="171450" indent="-171450">
              <a:buFont typeface="Wingdings" panose="05000000000000000000" pitchFamily="2" charset="2"/>
              <a:buChar char="Ø"/>
            </a:pPr>
            <a:r>
              <a:rPr lang="en-US" sz="1600" dirty="0"/>
              <a:t>Execution:</a:t>
            </a:r>
          </a:p>
          <a:p>
            <a:pPr lvl="1"/>
            <a:r>
              <a:rPr lang="en-US" sz="1600" dirty="0"/>
              <a:t>Agent Executor</a:t>
            </a:r>
          </a:p>
        </p:txBody>
      </p:sp>
    </p:spTree>
    <p:extLst>
      <p:ext uri="{BB962C8B-B14F-4D97-AF65-F5344CB8AC3E}">
        <p14:creationId xmlns:p14="http://schemas.microsoft.com/office/powerpoint/2010/main" val="17885406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A2A (Agent2Agen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graphicFrame>
        <p:nvGraphicFramePr>
          <p:cNvPr id="3" name="Content Placeholder 6">
            <a:extLst>
              <a:ext uri="{FF2B5EF4-FFF2-40B4-BE49-F238E27FC236}">
                <a16:creationId xmlns:a16="http://schemas.microsoft.com/office/drawing/2014/main" id="{F538EBC3-13A7-9E3C-FBA0-30780073E720}"/>
              </a:ext>
            </a:extLst>
          </p:cNvPr>
          <p:cNvGraphicFramePr>
            <a:graphicFrameLocks/>
          </p:cNvGraphicFramePr>
          <p:nvPr>
            <p:extLst>
              <p:ext uri="{D42A27DB-BD31-4B8C-83A1-F6EECF244321}">
                <p14:modId xmlns:p14="http://schemas.microsoft.com/office/powerpoint/2010/main" val="4032162219"/>
              </p:ext>
            </p:extLst>
          </p:nvPr>
        </p:nvGraphicFramePr>
        <p:xfrm>
          <a:off x="633216" y="1683524"/>
          <a:ext cx="3137211" cy="36385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73C0D51C-C840-6A2B-1BB4-6A5FC25F5E57}"/>
              </a:ext>
            </a:extLst>
          </p:cNvPr>
          <p:cNvGraphicFramePr/>
          <p:nvPr>
            <p:extLst>
              <p:ext uri="{D42A27DB-BD31-4B8C-83A1-F6EECF244321}">
                <p14:modId xmlns:p14="http://schemas.microsoft.com/office/powerpoint/2010/main" val="1402690220"/>
              </p:ext>
            </p:extLst>
          </p:nvPr>
        </p:nvGraphicFramePr>
        <p:xfrm>
          <a:off x="4283704" y="1524000"/>
          <a:ext cx="7059960" cy="41199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4374514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DB0C09B-C451-C219-4038-D528407A5D87}"/>
              </a:ext>
            </a:extLst>
          </p:cNvPr>
          <p:cNvSpPr/>
          <p:nvPr/>
        </p:nvSpPr>
        <p:spPr>
          <a:xfrm>
            <a:off x="423746" y="661639"/>
            <a:ext cx="4819187" cy="2352908"/>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dirty="0">
                <a:latin typeface="Consolas" panose="020B0609020204030204" pitchFamily="49" charset="0"/>
              </a:rPr>
              <a:t>{</a:t>
            </a:r>
          </a:p>
          <a:p>
            <a:r>
              <a:rPr lang="en-US" dirty="0">
                <a:latin typeface="Consolas" panose="020B0609020204030204" pitchFamily="49" charset="0"/>
              </a:rPr>
              <a:t>	role: “user”</a:t>
            </a:r>
          </a:p>
          <a:p>
            <a:r>
              <a:rPr lang="en-US" dirty="0">
                <a:latin typeface="Consolas" panose="020B0609020204030204" pitchFamily="49" charset="0"/>
              </a:rPr>
              <a:t>	parts: [{“type”: “text”,…}]</a:t>
            </a:r>
            <a:endParaRPr lang="en-IN" dirty="0">
              <a:latin typeface="Consolas" panose="020B0609020204030204" pitchFamily="49" charset="0"/>
            </a:endParaRPr>
          </a:p>
          <a:p>
            <a:r>
              <a:rPr lang="en-IN" dirty="0">
                <a:latin typeface="Consolas" panose="020B0609020204030204" pitchFamily="49" charset="0"/>
              </a:rPr>
              <a:t>	</a:t>
            </a:r>
            <a:r>
              <a:rPr lang="en-IN" dirty="0" err="1">
                <a:latin typeface="Consolas" panose="020B0609020204030204" pitchFamily="49" charset="0"/>
              </a:rPr>
              <a:t>messageId</a:t>
            </a:r>
            <a:r>
              <a:rPr lang="en-IN" dirty="0">
                <a:latin typeface="Consolas" panose="020B0609020204030204" pitchFamily="49" charset="0"/>
              </a:rPr>
              <a:t>: “123”</a:t>
            </a:r>
          </a:p>
          <a:p>
            <a:r>
              <a:rPr lang="en-IN" dirty="0">
                <a:latin typeface="Consolas" panose="020B0609020204030204" pitchFamily="49" charset="0"/>
              </a:rPr>
              <a:t>	</a:t>
            </a:r>
            <a:r>
              <a:rPr lang="en-IN" dirty="0" err="1">
                <a:latin typeface="Consolas" panose="020B0609020204030204" pitchFamily="49" charset="0"/>
              </a:rPr>
              <a:t>taskId</a:t>
            </a:r>
            <a:r>
              <a:rPr lang="en-IN" dirty="0">
                <a:latin typeface="Consolas" panose="020B0609020204030204" pitchFamily="49" charset="0"/>
              </a:rPr>
              <a:t>: “ABC”</a:t>
            </a:r>
          </a:p>
          <a:p>
            <a:r>
              <a:rPr lang="en-IN" dirty="0">
                <a:latin typeface="Consolas" panose="020B0609020204030204" pitchFamily="49" charset="0"/>
              </a:rPr>
              <a:t>	</a:t>
            </a:r>
            <a:r>
              <a:rPr lang="en-IN" dirty="0" err="1">
                <a:latin typeface="Consolas" panose="020B0609020204030204" pitchFamily="49" charset="0"/>
              </a:rPr>
              <a:t>contextId</a:t>
            </a:r>
            <a:r>
              <a:rPr lang="en-IN" dirty="0">
                <a:latin typeface="Consolas" panose="020B0609020204030204" pitchFamily="49" charset="0"/>
              </a:rPr>
              <a:t>: “</a:t>
            </a:r>
            <a:r>
              <a:rPr lang="en-IN" dirty="0" err="1">
                <a:latin typeface="Consolas" panose="020B0609020204030204" pitchFamily="49" charset="0"/>
              </a:rPr>
              <a:t>xyz</a:t>
            </a:r>
            <a:r>
              <a:rPr lang="en-IN" dirty="0">
                <a:latin typeface="Consolas" panose="020B0609020204030204" pitchFamily="49" charset="0"/>
              </a:rPr>
              <a:t>”</a:t>
            </a:r>
          </a:p>
          <a:p>
            <a:r>
              <a:rPr lang="en-IN" dirty="0">
                <a:latin typeface="Consolas" panose="020B0609020204030204" pitchFamily="49" charset="0"/>
              </a:rPr>
              <a:t>}</a:t>
            </a:r>
            <a:endParaRPr lang="en-US" dirty="0">
              <a:latin typeface="Consolas" panose="020B0609020204030204" pitchFamily="49" charset="0"/>
            </a:endParaRPr>
          </a:p>
        </p:txBody>
      </p:sp>
      <p:sp>
        <p:nvSpPr>
          <p:cNvPr id="2" name="TextBox 1">
            <a:extLst>
              <a:ext uri="{FF2B5EF4-FFF2-40B4-BE49-F238E27FC236}">
                <a16:creationId xmlns:a16="http://schemas.microsoft.com/office/drawing/2014/main" id="{470A9A0B-951B-3BEA-317A-5BF106728E46}"/>
              </a:ext>
            </a:extLst>
          </p:cNvPr>
          <p:cNvSpPr txBox="1"/>
          <p:nvPr/>
        </p:nvSpPr>
        <p:spPr>
          <a:xfrm>
            <a:off x="1050074" y="338254"/>
            <a:ext cx="1282390" cy="369332"/>
          </a:xfrm>
          <a:prstGeom prst="rect">
            <a:avLst/>
          </a:prstGeom>
          <a:noFill/>
        </p:spPr>
        <p:txBody>
          <a:bodyPr wrap="square" rtlCol="0">
            <a:spAutoFit/>
          </a:bodyPr>
          <a:lstStyle/>
          <a:p>
            <a:r>
              <a:rPr lang="en-US" dirty="0">
                <a:solidFill>
                  <a:srgbClr val="002060"/>
                </a:solidFill>
              </a:rPr>
              <a:t>Message</a:t>
            </a:r>
            <a:endParaRPr lang="en-IN" dirty="0">
              <a:solidFill>
                <a:srgbClr val="002060"/>
              </a:solidFill>
            </a:endParaRPr>
          </a:p>
        </p:txBody>
      </p:sp>
      <p:sp>
        <p:nvSpPr>
          <p:cNvPr id="3" name="Rectangle: Rounded Corners 2">
            <a:extLst>
              <a:ext uri="{FF2B5EF4-FFF2-40B4-BE49-F238E27FC236}">
                <a16:creationId xmlns:a16="http://schemas.microsoft.com/office/drawing/2014/main" id="{386BA70E-6299-4228-293B-69BEC3CFBD32}"/>
              </a:ext>
            </a:extLst>
          </p:cNvPr>
          <p:cNvSpPr/>
          <p:nvPr/>
        </p:nvSpPr>
        <p:spPr>
          <a:xfrm>
            <a:off x="5984488" y="1141142"/>
            <a:ext cx="4337825" cy="1364165"/>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dirty="0">
                <a:latin typeface="Consolas" panose="020B0609020204030204" pitchFamily="49" charset="0"/>
              </a:rPr>
              <a:t>{</a:t>
            </a:r>
          </a:p>
          <a:p>
            <a:r>
              <a:rPr lang="en-US" dirty="0">
                <a:latin typeface="Consolas" panose="020B0609020204030204" pitchFamily="49" charset="0"/>
              </a:rPr>
              <a:t>	id: </a:t>
            </a:r>
            <a:r>
              <a:rPr lang="en-US" dirty="0" err="1">
                <a:latin typeface="Consolas" panose="020B0609020204030204" pitchFamily="49" charset="0"/>
              </a:rPr>
              <a:t>str|int</a:t>
            </a:r>
            <a:endParaRPr lang="en-US" dirty="0">
              <a:latin typeface="Consolas" panose="020B0609020204030204" pitchFamily="49" charset="0"/>
            </a:endParaRPr>
          </a:p>
          <a:p>
            <a:r>
              <a:rPr lang="en-US" dirty="0">
                <a:latin typeface="Consolas" panose="020B0609020204030204" pitchFamily="49" charset="0"/>
              </a:rPr>
              <a:t>	result: </a:t>
            </a:r>
            <a:r>
              <a:rPr lang="en-US" dirty="0" err="1">
                <a:latin typeface="Consolas" panose="020B0609020204030204" pitchFamily="49" charset="0"/>
              </a:rPr>
              <a:t>message|task</a:t>
            </a:r>
            <a:endParaRPr lang="en-US" dirty="0">
              <a:latin typeface="Consolas" panose="020B0609020204030204" pitchFamily="49" charset="0"/>
            </a:endParaRPr>
          </a:p>
          <a:p>
            <a:r>
              <a:rPr lang="en-IN" dirty="0">
                <a:latin typeface="Consolas" panose="020B0609020204030204" pitchFamily="49" charset="0"/>
              </a:rPr>
              <a:t>}</a:t>
            </a:r>
            <a:endParaRPr lang="en-US" dirty="0">
              <a:latin typeface="Consolas" panose="020B0609020204030204" pitchFamily="49" charset="0"/>
            </a:endParaRPr>
          </a:p>
        </p:txBody>
      </p:sp>
      <p:sp>
        <p:nvSpPr>
          <p:cNvPr id="4" name="TextBox 3">
            <a:extLst>
              <a:ext uri="{FF2B5EF4-FFF2-40B4-BE49-F238E27FC236}">
                <a16:creationId xmlns:a16="http://schemas.microsoft.com/office/drawing/2014/main" id="{8D324B63-6B1F-5024-EBC2-DC7DB93A62D1}"/>
              </a:ext>
            </a:extLst>
          </p:cNvPr>
          <p:cNvSpPr txBox="1"/>
          <p:nvPr/>
        </p:nvSpPr>
        <p:spPr>
          <a:xfrm>
            <a:off x="6129455" y="817757"/>
            <a:ext cx="4007004" cy="369332"/>
          </a:xfrm>
          <a:prstGeom prst="rect">
            <a:avLst/>
          </a:prstGeom>
          <a:noFill/>
        </p:spPr>
        <p:txBody>
          <a:bodyPr wrap="square" rtlCol="0">
            <a:spAutoFit/>
          </a:bodyPr>
          <a:lstStyle/>
          <a:p>
            <a:r>
              <a:rPr lang="en-US" dirty="0" err="1">
                <a:solidFill>
                  <a:srgbClr val="002060"/>
                </a:solidFill>
              </a:rPr>
              <a:t>SendMessageSuccessResponse</a:t>
            </a:r>
            <a:endParaRPr lang="en-IN" dirty="0">
              <a:solidFill>
                <a:srgbClr val="002060"/>
              </a:solidFill>
            </a:endParaRPr>
          </a:p>
        </p:txBody>
      </p:sp>
      <p:sp>
        <p:nvSpPr>
          <p:cNvPr id="5" name="Rectangle: Rounded Corners 4">
            <a:extLst>
              <a:ext uri="{FF2B5EF4-FFF2-40B4-BE49-F238E27FC236}">
                <a16:creationId xmlns:a16="http://schemas.microsoft.com/office/drawing/2014/main" id="{BBBF2598-80E5-6F2B-6463-B04154D7DB21}"/>
              </a:ext>
            </a:extLst>
          </p:cNvPr>
          <p:cNvSpPr/>
          <p:nvPr/>
        </p:nvSpPr>
        <p:spPr>
          <a:xfrm>
            <a:off x="3627864" y="3958682"/>
            <a:ext cx="3783982" cy="2029523"/>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sz="1400" dirty="0">
                <a:latin typeface="Consolas" panose="020B0609020204030204" pitchFamily="49" charset="0"/>
              </a:rPr>
              <a:t>{</a:t>
            </a:r>
          </a:p>
          <a:p>
            <a:r>
              <a:rPr lang="en-US" sz="1400" dirty="0">
                <a:latin typeface="Consolas" panose="020B0609020204030204" pitchFamily="49" charset="0"/>
              </a:rPr>
              <a:t>	role: “user”</a:t>
            </a:r>
          </a:p>
          <a:p>
            <a:r>
              <a:rPr lang="en-US" sz="1400" dirty="0">
                <a:latin typeface="Consolas" panose="020B0609020204030204" pitchFamily="49" charset="0"/>
              </a:rPr>
              <a:t>	parts: [{“type”: “text”,…}]</a:t>
            </a:r>
            <a:endParaRPr lang="en-IN" sz="1400" dirty="0">
              <a:latin typeface="Consolas" panose="020B0609020204030204" pitchFamily="49" charset="0"/>
            </a:endParaRPr>
          </a:p>
          <a:p>
            <a:r>
              <a:rPr lang="en-IN" sz="1400" dirty="0">
                <a:latin typeface="Consolas" panose="020B0609020204030204" pitchFamily="49" charset="0"/>
              </a:rPr>
              <a:t>	</a:t>
            </a:r>
            <a:r>
              <a:rPr lang="en-IN" sz="1400" dirty="0" err="1">
                <a:latin typeface="Consolas" panose="020B0609020204030204" pitchFamily="49" charset="0"/>
              </a:rPr>
              <a:t>messageId</a:t>
            </a:r>
            <a:r>
              <a:rPr lang="en-IN" sz="1400" dirty="0">
                <a:latin typeface="Consolas" panose="020B0609020204030204" pitchFamily="49" charset="0"/>
              </a:rPr>
              <a:t>: “123”</a:t>
            </a:r>
          </a:p>
          <a:p>
            <a:r>
              <a:rPr lang="en-IN" sz="1400" dirty="0">
                <a:latin typeface="Consolas" panose="020B0609020204030204" pitchFamily="49" charset="0"/>
              </a:rPr>
              <a:t>	</a:t>
            </a:r>
            <a:r>
              <a:rPr lang="en-IN" sz="1400" dirty="0" err="1">
                <a:latin typeface="Consolas" panose="020B0609020204030204" pitchFamily="49" charset="0"/>
              </a:rPr>
              <a:t>taskId</a:t>
            </a:r>
            <a:r>
              <a:rPr lang="en-IN" sz="1400" dirty="0">
                <a:latin typeface="Consolas" panose="020B0609020204030204" pitchFamily="49" charset="0"/>
              </a:rPr>
              <a:t>: “ABC”</a:t>
            </a:r>
          </a:p>
          <a:p>
            <a:r>
              <a:rPr lang="en-IN" sz="1400" dirty="0">
                <a:latin typeface="Consolas" panose="020B0609020204030204" pitchFamily="49" charset="0"/>
              </a:rPr>
              <a:t>	</a:t>
            </a:r>
            <a:r>
              <a:rPr lang="en-IN" sz="1400" dirty="0" err="1">
                <a:latin typeface="Consolas" panose="020B0609020204030204" pitchFamily="49" charset="0"/>
              </a:rPr>
              <a:t>contextId</a:t>
            </a:r>
            <a:r>
              <a:rPr lang="en-IN" sz="1400" dirty="0">
                <a:latin typeface="Consolas" panose="020B0609020204030204" pitchFamily="49" charset="0"/>
              </a:rPr>
              <a:t>: “</a:t>
            </a:r>
            <a:r>
              <a:rPr lang="en-IN" sz="1400" dirty="0" err="1">
                <a:latin typeface="Consolas" panose="020B0609020204030204" pitchFamily="49" charset="0"/>
              </a:rPr>
              <a:t>xyz</a:t>
            </a:r>
            <a:r>
              <a:rPr lang="en-IN" sz="1400" dirty="0">
                <a:latin typeface="Consolas" panose="020B0609020204030204" pitchFamily="49" charset="0"/>
              </a:rPr>
              <a:t>”</a:t>
            </a:r>
          </a:p>
          <a:p>
            <a:r>
              <a:rPr lang="en-IN" sz="1400" dirty="0">
                <a:latin typeface="Consolas" panose="020B0609020204030204" pitchFamily="49" charset="0"/>
              </a:rPr>
              <a:t>}</a:t>
            </a:r>
            <a:endParaRPr lang="en-US" sz="1400" dirty="0">
              <a:latin typeface="Consolas" panose="020B0609020204030204" pitchFamily="49" charset="0"/>
            </a:endParaRPr>
          </a:p>
        </p:txBody>
      </p:sp>
      <p:sp>
        <p:nvSpPr>
          <p:cNvPr id="6" name="TextBox 5">
            <a:extLst>
              <a:ext uri="{FF2B5EF4-FFF2-40B4-BE49-F238E27FC236}">
                <a16:creationId xmlns:a16="http://schemas.microsoft.com/office/drawing/2014/main" id="{70ADBEA6-1CB4-B26D-A16E-42A7748C62F9}"/>
              </a:ext>
            </a:extLst>
          </p:cNvPr>
          <p:cNvSpPr txBox="1"/>
          <p:nvPr/>
        </p:nvSpPr>
        <p:spPr>
          <a:xfrm>
            <a:off x="3772829" y="3635298"/>
            <a:ext cx="1590907" cy="369332"/>
          </a:xfrm>
          <a:prstGeom prst="rect">
            <a:avLst/>
          </a:prstGeom>
          <a:noFill/>
        </p:spPr>
        <p:txBody>
          <a:bodyPr wrap="square" rtlCol="0">
            <a:spAutoFit/>
          </a:bodyPr>
          <a:lstStyle/>
          <a:p>
            <a:r>
              <a:rPr lang="en-US" dirty="0"/>
              <a:t>Message</a:t>
            </a:r>
            <a:endParaRPr lang="en-IN" dirty="0"/>
          </a:p>
        </p:txBody>
      </p:sp>
      <p:cxnSp>
        <p:nvCxnSpPr>
          <p:cNvPr id="21" name="Straight Arrow Connector 20">
            <a:extLst>
              <a:ext uri="{FF2B5EF4-FFF2-40B4-BE49-F238E27FC236}">
                <a16:creationId xmlns:a16="http://schemas.microsoft.com/office/drawing/2014/main" id="{5DB7D7D6-EE61-96BD-2591-0840003B5E57}"/>
              </a:ext>
            </a:extLst>
          </p:cNvPr>
          <p:cNvCxnSpPr/>
          <p:nvPr/>
        </p:nvCxnSpPr>
        <p:spPr>
          <a:xfrm>
            <a:off x="5242932" y="1568605"/>
            <a:ext cx="741556"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23" name="Straight Arrow Connector 22">
            <a:extLst>
              <a:ext uri="{FF2B5EF4-FFF2-40B4-BE49-F238E27FC236}">
                <a16:creationId xmlns:a16="http://schemas.microsoft.com/office/drawing/2014/main" id="{C250DF00-F8A0-ED3D-B2D7-AE1C3D19D2B0}"/>
              </a:ext>
            </a:extLst>
          </p:cNvPr>
          <p:cNvCxnSpPr>
            <a:cxnSpLocks/>
          </p:cNvCxnSpPr>
          <p:nvPr/>
        </p:nvCxnSpPr>
        <p:spPr>
          <a:xfrm flipH="1">
            <a:off x="6345044" y="2505307"/>
            <a:ext cx="1282390" cy="1315844"/>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25" name="Straight Arrow Connector 24">
            <a:extLst>
              <a:ext uri="{FF2B5EF4-FFF2-40B4-BE49-F238E27FC236}">
                <a16:creationId xmlns:a16="http://schemas.microsoft.com/office/drawing/2014/main" id="{D676821D-EBB9-13F2-95E9-01F82D99A292}"/>
              </a:ext>
            </a:extLst>
          </p:cNvPr>
          <p:cNvCxnSpPr>
            <a:cxnSpLocks/>
            <a:stCxn id="3" idx="2"/>
          </p:cNvCxnSpPr>
          <p:nvPr/>
        </p:nvCxnSpPr>
        <p:spPr>
          <a:xfrm>
            <a:off x="8153401" y="2505307"/>
            <a:ext cx="1113262" cy="1315844"/>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sp>
        <p:nvSpPr>
          <p:cNvPr id="32" name="Rectangle: Rounded Corners 31">
            <a:extLst>
              <a:ext uri="{FF2B5EF4-FFF2-40B4-BE49-F238E27FC236}">
                <a16:creationId xmlns:a16="http://schemas.microsoft.com/office/drawing/2014/main" id="{B2BAC061-2EC3-CC5E-9312-EB404215165F}"/>
              </a:ext>
            </a:extLst>
          </p:cNvPr>
          <p:cNvSpPr/>
          <p:nvPr/>
        </p:nvSpPr>
        <p:spPr>
          <a:xfrm>
            <a:off x="7750098" y="3958681"/>
            <a:ext cx="4029309" cy="2594519"/>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sz="1400" dirty="0">
                <a:latin typeface="Consolas" panose="020B0609020204030204" pitchFamily="49" charset="0"/>
              </a:rPr>
              <a:t>{</a:t>
            </a:r>
          </a:p>
          <a:p>
            <a:r>
              <a:rPr lang="en-US" sz="1400" dirty="0">
                <a:latin typeface="Consolas" panose="020B0609020204030204" pitchFamily="49" charset="0"/>
              </a:rPr>
              <a:t>	id: “user”</a:t>
            </a:r>
          </a:p>
          <a:p>
            <a:r>
              <a:rPr lang="en-US" sz="1400" dirty="0">
                <a:latin typeface="Consolas" panose="020B0609020204030204" pitchFamily="49" charset="0"/>
              </a:rPr>
              <a:t>	artifacts:</a:t>
            </a:r>
          </a:p>
          <a:p>
            <a:r>
              <a:rPr lang="en-IN" sz="1400" dirty="0">
                <a:latin typeface="Consolas" panose="020B0609020204030204" pitchFamily="49" charset="0"/>
              </a:rPr>
              <a:t>	</a:t>
            </a:r>
            <a:r>
              <a:rPr lang="en-IN" sz="1400" dirty="0" err="1">
                <a:latin typeface="Consolas" panose="020B0609020204030204" pitchFamily="49" charset="0"/>
              </a:rPr>
              <a:t>contextId</a:t>
            </a:r>
            <a:r>
              <a:rPr lang="en-IN" sz="1400" dirty="0">
                <a:latin typeface="Consolas" panose="020B0609020204030204" pitchFamily="49" charset="0"/>
              </a:rPr>
              <a:t>: “</a:t>
            </a:r>
            <a:r>
              <a:rPr lang="en-IN" sz="1400" dirty="0" err="1">
                <a:latin typeface="Consolas" panose="020B0609020204030204" pitchFamily="49" charset="0"/>
              </a:rPr>
              <a:t>xyz</a:t>
            </a:r>
            <a:r>
              <a:rPr lang="en-IN" sz="1400" dirty="0">
                <a:latin typeface="Consolas" panose="020B0609020204030204" pitchFamily="49" charset="0"/>
              </a:rPr>
              <a:t>”</a:t>
            </a:r>
          </a:p>
          <a:p>
            <a:r>
              <a:rPr lang="en-IN" sz="1400" dirty="0">
                <a:latin typeface="Consolas" panose="020B0609020204030204" pitchFamily="49" charset="0"/>
              </a:rPr>
              <a:t>	status: {</a:t>
            </a:r>
          </a:p>
          <a:p>
            <a:r>
              <a:rPr lang="en-IN" sz="1400" dirty="0">
                <a:latin typeface="Consolas" panose="020B0609020204030204" pitchFamily="49" charset="0"/>
              </a:rPr>
              <a:t>	  message: …</a:t>
            </a:r>
          </a:p>
          <a:p>
            <a:r>
              <a:rPr lang="en-IN" sz="1400" dirty="0">
                <a:latin typeface="Consolas" panose="020B0609020204030204" pitchFamily="49" charset="0"/>
              </a:rPr>
              <a:t>	  state: </a:t>
            </a:r>
            <a:r>
              <a:rPr lang="en-IN" sz="1400" dirty="0" err="1">
                <a:latin typeface="Consolas" panose="020B0609020204030204" pitchFamily="49" charset="0"/>
              </a:rPr>
              <a:t>submitted|working</a:t>
            </a:r>
            <a:r>
              <a:rPr lang="en-IN" sz="1400" dirty="0">
                <a:latin typeface="Consolas" panose="020B0609020204030204" pitchFamily="49" charset="0"/>
              </a:rPr>
              <a:t>| 	</a:t>
            </a:r>
            <a:r>
              <a:rPr lang="en-IN" sz="1400" dirty="0" err="1">
                <a:latin typeface="Consolas" panose="020B0609020204030204" pitchFamily="49" charset="0"/>
              </a:rPr>
              <a:t>input_required|completed</a:t>
            </a:r>
            <a:r>
              <a:rPr lang="en-IN" sz="1400" dirty="0">
                <a:latin typeface="Consolas" panose="020B0609020204030204" pitchFamily="49" charset="0"/>
              </a:rPr>
              <a:t>| 	</a:t>
            </a:r>
            <a:r>
              <a:rPr lang="en-IN" sz="1400" dirty="0" err="1">
                <a:latin typeface="Consolas" panose="020B0609020204030204" pitchFamily="49" charset="0"/>
              </a:rPr>
              <a:t>canceled|failed</a:t>
            </a:r>
            <a:r>
              <a:rPr lang="en-IN" sz="1400" dirty="0">
                <a:latin typeface="Consolas" panose="020B0609020204030204" pitchFamily="49" charset="0"/>
              </a:rPr>
              <a:t> </a:t>
            </a:r>
          </a:p>
          <a:p>
            <a:r>
              <a:rPr lang="en-IN" sz="1400" dirty="0">
                <a:latin typeface="Consolas" panose="020B0609020204030204" pitchFamily="49" charset="0"/>
              </a:rPr>
              <a:t>	}</a:t>
            </a:r>
          </a:p>
          <a:p>
            <a:r>
              <a:rPr lang="en-IN" sz="1400" dirty="0">
                <a:latin typeface="Consolas" panose="020B0609020204030204" pitchFamily="49" charset="0"/>
              </a:rPr>
              <a:t>}</a:t>
            </a:r>
            <a:endParaRPr lang="en-US" sz="1400" dirty="0">
              <a:latin typeface="Consolas" panose="020B0609020204030204" pitchFamily="49" charset="0"/>
            </a:endParaRPr>
          </a:p>
        </p:txBody>
      </p:sp>
      <p:sp>
        <p:nvSpPr>
          <p:cNvPr id="38" name="TextBox 37">
            <a:extLst>
              <a:ext uri="{FF2B5EF4-FFF2-40B4-BE49-F238E27FC236}">
                <a16:creationId xmlns:a16="http://schemas.microsoft.com/office/drawing/2014/main" id="{55FBDBD9-536F-6787-68C7-B2DF19CBAE37}"/>
              </a:ext>
            </a:extLst>
          </p:cNvPr>
          <p:cNvSpPr txBox="1"/>
          <p:nvPr/>
        </p:nvSpPr>
        <p:spPr>
          <a:xfrm>
            <a:off x="8132957" y="3635298"/>
            <a:ext cx="1590907" cy="369332"/>
          </a:xfrm>
          <a:prstGeom prst="rect">
            <a:avLst/>
          </a:prstGeom>
          <a:noFill/>
        </p:spPr>
        <p:txBody>
          <a:bodyPr wrap="square" rtlCol="0">
            <a:spAutoFit/>
          </a:bodyPr>
          <a:lstStyle/>
          <a:p>
            <a:r>
              <a:rPr lang="en-US" dirty="0"/>
              <a:t>Task</a:t>
            </a:r>
            <a:endParaRPr lang="en-IN" dirty="0"/>
          </a:p>
        </p:txBody>
      </p:sp>
    </p:spTree>
    <p:extLst>
      <p:ext uri="{BB962C8B-B14F-4D97-AF65-F5344CB8AC3E}">
        <p14:creationId xmlns:p14="http://schemas.microsoft.com/office/powerpoint/2010/main" val="20189279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F5BCEBA-3AC5-8EB8-63EA-2DD8C83292DA}"/>
              </a:ext>
            </a:extLst>
          </p:cNvPr>
          <p:cNvSpPr/>
          <p:nvPr/>
        </p:nvSpPr>
        <p:spPr>
          <a:xfrm>
            <a:off x="5758389" y="3957395"/>
            <a:ext cx="3549483" cy="2732049"/>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F6D98767-1CF4-17CA-FD3F-A82ACB9352B0}"/>
              </a:ext>
            </a:extLst>
          </p:cNvPr>
          <p:cNvSpPr/>
          <p:nvPr/>
        </p:nvSpPr>
        <p:spPr>
          <a:xfrm>
            <a:off x="5709425" y="472639"/>
            <a:ext cx="3549483" cy="2732049"/>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B042A668-62F1-6D82-A70C-B5187AE30D8D}"/>
              </a:ext>
            </a:extLst>
          </p:cNvPr>
          <p:cNvSpPr/>
          <p:nvPr/>
        </p:nvSpPr>
        <p:spPr>
          <a:xfrm>
            <a:off x="1115122" y="2999678"/>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Personal Agent</a:t>
            </a:r>
          </a:p>
          <a:p>
            <a:pPr algn="ctr"/>
            <a:endParaRPr lang="en-IN" dirty="0"/>
          </a:p>
        </p:txBody>
      </p:sp>
      <p:pic>
        <p:nvPicPr>
          <p:cNvPr id="9" name="Picture 8" descr="A colorful logo with arrows&#10;&#10;AI-generated content may be incorrect.">
            <a:extLst>
              <a:ext uri="{FF2B5EF4-FFF2-40B4-BE49-F238E27FC236}">
                <a16:creationId xmlns:a16="http://schemas.microsoft.com/office/drawing/2014/main" id="{348F587B-19A4-26AA-FCC8-C57CE13DC6AD}"/>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1750741" y="3601845"/>
            <a:ext cx="1594625" cy="1460810"/>
          </a:xfrm>
          <a:prstGeom prst="rect">
            <a:avLst/>
          </a:prstGeom>
        </p:spPr>
      </p:pic>
      <p:sp>
        <p:nvSpPr>
          <p:cNvPr id="10" name="TextBox 9">
            <a:extLst>
              <a:ext uri="{FF2B5EF4-FFF2-40B4-BE49-F238E27FC236}">
                <a16:creationId xmlns:a16="http://schemas.microsoft.com/office/drawing/2014/main" id="{809BBEE6-C866-5699-7D0E-59AC2BF7028C}"/>
              </a:ext>
            </a:extLst>
          </p:cNvPr>
          <p:cNvSpPr txBox="1"/>
          <p:nvPr/>
        </p:nvSpPr>
        <p:spPr>
          <a:xfrm>
            <a:off x="1527716" y="5062654"/>
            <a:ext cx="2018371" cy="369332"/>
          </a:xfrm>
          <a:prstGeom prst="rect">
            <a:avLst/>
          </a:prstGeom>
          <a:noFill/>
        </p:spPr>
        <p:txBody>
          <a:bodyPr wrap="square" rtlCol="0">
            <a:spAutoFit/>
          </a:bodyPr>
          <a:lstStyle/>
          <a:p>
            <a:pPr algn="ctr"/>
            <a:r>
              <a:rPr lang="en-US" dirty="0"/>
              <a:t>Client</a:t>
            </a:r>
            <a:endParaRPr lang="en-IN" dirty="0"/>
          </a:p>
        </p:txBody>
      </p:sp>
      <p:sp>
        <p:nvSpPr>
          <p:cNvPr id="11" name="Rectangle: Rounded Corners 10">
            <a:extLst>
              <a:ext uri="{FF2B5EF4-FFF2-40B4-BE49-F238E27FC236}">
                <a16:creationId xmlns:a16="http://schemas.microsoft.com/office/drawing/2014/main" id="{0F5A9949-B0A2-0C17-889E-D8D1FC8C1537}"/>
              </a:ext>
            </a:extLst>
          </p:cNvPr>
          <p:cNvSpPr/>
          <p:nvPr/>
        </p:nvSpPr>
        <p:spPr>
          <a:xfrm>
            <a:off x="6007112" y="934919"/>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Hotel Agent</a:t>
            </a:r>
          </a:p>
          <a:p>
            <a:pPr algn="ctr"/>
            <a:endParaRPr lang="en-IN" dirty="0"/>
          </a:p>
        </p:txBody>
      </p:sp>
      <p:pic>
        <p:nvPicPr>
          <p:cNvPr id="12" name="Picture 11">
            <a:extLst>
              <a:ext uri="{FF2B5EF4-FFF2-40B4-BE49-F238E27FC236}">
                <a16:creationId xmlns:a16="http://schemas.microsoft.com/office/drawing/2014/main" id="{66D0A85C-1BD4-8988-5A08-C473BFF84B70}"/>
              </a:ext>
            </a:extLst>
          </p:cNvPr>
          <p:cNvPicPr>
            <a:picLocks noChangeAspect="1"/>
          </p:cNvPicPr>
          <p:nvPr/>
        </p:nvPicPr>
        <p:blipFill>
          <a:blip r:embed="rId4">
            <a:extLst>
              <a:ext uri="{837473B0-CC2E-450A-ABE3-18F120FF3D39}">
                <a1611:picAttrSrcUrl xmlns:a1611="http://schemas.microsoft.com/office/drawing/2016/11/main" r:id="rId5"/>
              </a:ext>
            </a:extLst>
          </a:blip>
          <a:srcRect/>
          <a:stretch/>
        </p:blipFill>
        <p:spPr>
          <a:xfrm>
            <a:off x="6888058" y="1693947"/>
            <a:ext cx="1252334" cy="1252334"/>
          </a:xfrm>
          <a:prstGeom prst="rect">
            <a:avLst/>
          </a:prstGeom>
        </p:spPr>
      </p:pic>
      <p:sp>
        <p:nvSpPr>
          <p:cNvPr id="13" name="TextBox 12">
            <a:extLst>
              <a:ext uri="{FF2B5EF4-FFF2-40B4-BE49-F238E27FC236}">
                <a16:creationId xmlns:a16="http://schemas.microsoft.com/office/drawing/2014/main" id="{5CCCA3A6-3BC5-96B5-651F-2F415BCA422B}"/>
              </a:ext>
            </a:extLst>
          </p:cNvPr>
          <p:cNvSpPr txBox="1"/>
          <p:nvPr/>
        </p:nvSpPr>
        <p:spPr>
          <a:xfrm>
            <a:off x="6419705" y="565587"/>
            <a:ext cx="2018371" cy="369332"/>
          </a:xfrm>
          <a:prstGeom prst="rect">
            <a:avLst/>
          </a:prstGeom>
          <a:noFill/>
        </p:spPr>
        <p:txBody>
          <a:bodyPr wrap="square" rtlCol="0">
            <a:spAutoFit/>
          </a:bodyPr>
          <a:lstStyle/>
          <a:p>
            <a:pPr algn="ctr"/>
            <a:r>
              <a:rPr lang="en-US" dirty="0">
                <a:solidFill>
                  <a:schemeClr val="bg1"/>
                </a:solidFill>
              </a:rPr>
              <a:t>Remote</a:t>
            </a:r>
            <a:endParaRPr lang="en-IN" dirty="0">
              <a:solidFill>
                <a:schemeClr val="bg1"/>
              </a:solidFill>
            </a:endParaRPr>
          </a:p>
        </p:txBody>
      </p:sp>
      <p:sp>
        <p:nvSpPr>
          <p:cNvPr id="14" name="Rectangle: Rounded Corners 13">
            <a:extLst>
              <a:ext uri="{FF2B5EF4-FFF2-40B4-BE49-F238E27FC236}">
                <a16:creationId xmlns:a16="http://schemas.microsoft.com/office/drawing/2014/main" id="{B7B536F7-8735-07DC-C6D3-6EC62C6682D4}"/>
              </a:ext>
            </a:extLst>
          </p:cNvPr>
          <p:cNvSpPr/>
          <p:nvPr/>
        </p:nvSpPr>
        <p:spPr>
          <a:xfrm>
            <a:off x="6007112" y="4274065"/>
            <a:ext cx="2921619" cy="2062976"/>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pPr algn="ctr"/>
            <a:r>
              <a:rPr lang="en-US" dirty="0"/>
              <a:t>Car Rental Agent</a:t>
            </a:r>
          </a:p>
          <a:p>
            <a:pPr algn="ctr"/>
            <a:endParaRPr lang="en-IN" dirty="0"/>
          </a:p>
        </p:txBody>
      </p:sp>
      <p:pic>
        <p:nvPicPr>
          <p:cNvPr id="15" name="Picture 14">
            <a:extLst>
              <a:ext uri="{FF2B5EF4-FFF2-40B4-BE49-F238E27FC236}">
                <a16:creationId xmlns:a16="http://schemas.microsoft.com/office/drawing/2014/main" id="{6A762ADF-6C9F-AD8B-83A6-2787DC9A49A3}"/>
              </a:ext>
            </a:extLst>
          </p:cNvPr>
          <p:cNvPicPr>
            <a:picLocks noChangeAspect="1"/>
          </p:cNvPicPr>
          <p:nvPr/>
        </p:nvPicPr>
        <p:blipFill>
          <a:blip r:embed="rId6">
            <a:extLst>
              <a:ext uri="{837473B0-CC2E-450A-ABE3-18F120FF3D39}">
                <a1611:picAttrSrcUrl xmlns:a1611="http://schemas.microsoft.com/office/drawing/2016/11/main" r:id="rId7"/>
              </a:ext>
            </a:extLst>
          </a:blip>
          <a:srcRect/>
          <a:stretch/>
        </p:blipFill>
        <p:spPr>
          <a:xfrm>
            <a:off x="6820581" y="4959617"/>
            <a:ext cx="1238924" cy="1238924"/>
          </a:xfrm>
          <a:prstGeom prst="rect">
            <a:avLst/>
          </a:prstGeom>
        </p:spPr>
      </p:pic>
      <p:sp>
        <p:nvSpPr>
          <p:cNvPr id="16" name="TextBox 15">
            <a:extLst>
              <a:ext uri="{FF2B5EF4-FFF2-40B4-BE49-F238E27FC236}">
                <a16:creationId xmlns:a16="http://schemas.microsoft.com/office/drawing/2014/main" id="{6546AA5F-526A-9D5D-7A48-B22407D4E323}"/>
              </a:ext>
            </a:extLst>
          </p:cNvPr>
          <p:cNvSpPr txBox="1"/>
          <p:nvPr/>
        </p:nvSpPr>
        <p:spPr>
          <a:xfrm>
            <a:off x="6419706" y="6337041"/>
            <a:ext cx="2018371" cy="369332"/>
          </a:xfrm>
          <a:prstGeom prst="rect">
            <a:avLst/>
          </a:prstGeom>
          <a:noFill/>
        </p:spPr>
        <p:txBody>
          <a:bodyPr wrap="square" rtlCol="0">
            <a:spAutoFit/>
          </a:bodyPr>
          <a:lstStyle/>
          <a:p>
            <a:pPr algn="ctr"/>
            <a:r>
              <a:rPr lang="en-US" dirty="0"/>
              <a:t>Remote</a:t>
            </a:r>
          </a:p>
        </p:txBody>
      </p:sp>
      <p:sp>
        <p:nvSpPr>
          <p:cNvPr id="22" name="TextBox 21">
            <a:extLst>
              <a:ext uri="{FF2B5EF4-FFF2-40B4-BE49-F238E27FC236}">
                <a16:creationId xmlns:a16="http://schemas.microsoft.com/office/drawing/2014/main" id="{96DA89C0-C302-5FB2-C0D8-AE801BFB3DB7}"/>
              </a:ext>
            </a:extLst>
          </p:cNvPr>
          <p:cNvSpPr txBox="1"/>
          <p:nvPr/>
        </p:nvSpPr>
        <p:spPr>
          <a:xfrm>
            <a:off x="4467939" y="2834627"/>
            <a:ext cx="1183463" cy="400110"/>
          </a:xfrm>
          <a:prstGeom prst="rect">
            <a:avLst/>
          </a:prstGeom>
          <a:noFill/>
        </p:spPr>
        <p:txBody>
          <a:bodyPr wrap="square" rtlCol="0">
            <a:spAutoFit/>
          </a:bodyPr>
          <a:lstStyle/>
          <a:p>
            <a:r>
              <a:rPr lang="en-US" sz="2000" dirty="0"/>
              <a:t>HTTPS</a:t>
            </a:r>
            <a:endParaRPr lang="en-IN" sz="2000" dirty="0"/>
          </a:p>
        </p:txBody>
      </p:sp>
      <p:sp>
        <p:nvSpPr>
          <p:cNvPr id="17" name="TextBox 16">
            <a:extLst>
              <a:ext uri="{FF2B5EF4-FFF2-40B4-BE49-F238E27FC236}">
                <a16:creationId xmlns:a16="http://schemas.microsoft.com/office/drawing/2014/main" id="{DCAD308A-2649-CEF9-7135-5BD1F7D45B4B}"/>
              </a:ext>
            </a:extLst>
          </p:cNvPr>
          <p:cNvSpPr txBox="1"/>
          <p:nvPr/>
        </p:nvSpPr>
        <p:spPr>
          <a:xfrm>
            <a:off x="6222382" y="149253"/>
            <a:ext cx="2486722" cy="369332"/>
          </a:xfrm>
          <a:prstGeom prst="rect">
            <a:avLst/>
          </a:prstGeom>
          <a:noFill/>
        </p:spPr>
        <p:txBody>
          <a:bodyPr wrap="square" rtlCol="0">
            <a:spAutoFit/>
          </a:bodyPr>
          <a:lstStyle/>
          <a:p>
            <a:pPr algn="ctr"/>
            <a:r>
              <a:rPr lang="en-US" dirty="0">
                <a:solidFill>
                  <a:schemeClr val="accent4">
                    <a:lumMod val="60000"/>
                    <a:lumOff val="40000"/>
                  </a:schemeClr>
                </a:solidFill>
              </a:rPr>
              <a:t>A2A Agent</a:t>
            </a:r>
            <a:endParaRPr lang="en-IN" dirty="0">
              <a:solidFill>
                <a:schemeClr val="accent4">
                  <a:lumMod val="60000"/>
                  <a:lumOff val="40000"/>
                </a:schemeClr>
              </a:solidFill>
            </a:endParaRPr>
          </a:p>
        </p:txBody>
      </p:sp>
      <p:sp>
        <p:nvSpPr>
          <p:cNvPr id="19" name="TextBox 18">
            <a:extLst>
              <a:ext uri="{FF2B5EF4-FFF2-40B4-BE49-F238E27FC236}">
                <a16:creationId xmlns:a16="http://schemas.microsoft.com/office/drawing/2014/main" id="{FB130A0E-701C-B0B9-E8B3-C8FF42FC142C}"/>
              </a:ext>
            </a:extLst>
          </p:cNvPr>
          <p:cNvSpPr txBox="1"/>
          <p:nvPr/>
        </p:nvSpPr>
        <p:spPr>
          <a:xfrm>
            <a:off x="6222382" y="3495588"/>
            <a:ext cx="2486722" cy="369332"/>
          </a:xfrm>
          <a:prstGeom prst="rect">
            <a:avLst/>
          </a:prstGeom>
          <a:noFill/>
        </p:spPr>
        <p:txBody>
          <a:bodyPr wrap="square" rtlCol="0">
            <a:spAutoFit/>
          </a:bodyPr>
          <a:lstStyle/>
          <a:p>
            <a:pPr algn="ctr"/>
            <a:r>
              <a:rPr lang="en-US" dirty="0">
                <a:solidFill>
                  <a:schemeClr val="accent4">
                    <a:lumMod val="75000"/>
                  </a:schemeClr>
                </a:solidFill>
              </a:rPr>
              <a:t>A2A Agent</a:t>
            </a:r>
            <a:endParaRPr lang="en-IN" dirty="0">
              <a:solidFill>
                <a:schemeClr val="accent4">
                  <a:lumMod val="75000"/>
                </a:schemeClr>
              </a:solidFill>
            </a:endParaRPr>
          </a:p>
        </p:txBody>
      </p:sp>
      <p:sp>
        <p:nvSpPr>
          <p:cNvPr id="26" name="Rectangle: Rounded Corners 25">
            <a:extLst>
              <a:ext uri="{FF2B5EF4-FFF2-40B4-BE49-F238E27FC236}">
                <a16:creationId xmlns:a16="http://schemas.microsoft.com/office/drawing/2014/main" id="{B3718D12-CEAE-27B3-C347-87660E00064B}"/>
              </a:ext>
            </a:extLst>
          </p:cNvPr>
          <p:cNvSpPr/>
          <p:nvPr/>
        </p:nvSpPr>
        <p:spPr>
          <a:xfrm rot="20163687">
            <a:off x="4036740" y="2291014"/>
            <a:ext cx="1342507" cy="400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essage</a:t>
            </a:r>
            <a:endParaRPr lang="en-IN" dirty="0"/>
          </a:p>
        </p:txBody>
      </p:sp>
      <p:cxnSp>
        <p:nvCxnSpPr>
          <p:cNvPr id="33" name="Straight Arrow Connector 32">
            <a:extLst>
              <a:ext uri="{FF2B5EF4-FFF2-40B4-BE49-F238E27FC236}">
                <a16:creationId xmlns:a16="http://schemas.microsoft.com/office/drawing/2014/main" id="{FA789621-A96D-926D-632C-72862122022C}"/>
              </a:ext>
            </a:extLst>
          </p:cNvPr>
          <p:cNvCxnSpPr/>
          <p:nvPr/>
        </p:nvCxnSpPr>
        <p:spPr>
          <a:xfrm flipV="1">
            <a:off x="4013306" y="2491069"/>
            <a:ext cx="1618060" cy="7136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5A7CACD-2447-6F57-F358-C463D42206FC}"/>
              </a:ext>
            </a:extLst>
          </p:cNvPr>
          <p:cNvSpPr txBox="1"/>
          <p:nvPr/>
        </p:nvSpPr>
        <p:spPr>
          <a:xfrm>
            <a:off x="657922" y="5832088"/>
            <a:ext cx="4230672" cy="646331"/>
          </a:xfrm>
          <a:prstGeom prst="rect">
            <a:avLst/>
          </a:prstGeom>
          <a:noFill/>
        </p:spPr>
        <p:txBody>
          <a:bodyPr wrap="square" rtlCol="0">
            <a:spAutoFit/>
          </a:bodyPr>
          <a:lstStyle/>
          <a:p>
            <a:r>
              <a:rPr lang="en-US" dirty="0" err="1">
                <a:latin typeface="Consolas" panose="020B0609020204030204" pitchFamily="49" charset="0"/>
              </a:rPr>
              <a:t>Hotel_agent</a:t>
            </a:r>
            <a:r>
              <a:rPr lang="en-US" dirty="0">
                <a:latin typeface="Consolas" panose="020B0609020204030204" pitchFamily="49" charset="0"/>
              </a:rPr>
              <a:t>: localhost:1001</a:t>
            </a:r>
          </a:p>
          <a:p>
            <a:r>
              <a:rPr lang="en-US" dirty="0" err="1">
                <a:latin typeface="Consolas" panose="020B0609020204030204" pitchFamily="49" charset="0"/>
              </a:rPr>
              <a:t>Car_rental_agent</a:t>
            </a:r>
            <a:r>
              <a:rPr lang="en-US" dirty="0">
                <a:latin typeface="Consolas" panose="020B0609020204030204" pitchFamily="49" charset="0"/>
              </a:rPr>
              <a:t>: localhost:1002</a:t>
            </a:r>
            <a:endParaRPr lang="en-IN" dirty="0">
              <a:latin typeface="Consolas" panose="020B0609020204030204" pitchFamily="49" charset="0"/>
            </a:endParaRPr>
          </a:p>
        </p:txBody>
      </p:sp>
      <p:sp>
        <p:nvSpPr>
          <p:cNvPr id="35" name="TextBox 34">
            <a:extLst>
              <a:ext uri="{FF2B5EF4-FFF2-40B4-BE49-F238E27FC236}">
                <a16:creationId xmlns:a16="http://schemas.microsoft.com/office/drawing/2014/main" id="{E2B06B84-49D2-2E4A-AD6A-D7641868000B}"/>
              </a:ext>
            </a:extLst>
          </p:cNvPr>
          <p:cNvSpPr txBox="1"/>
          <p:nvPr/>
        </p:nvSpPr>
        <p:spPr>
          <a:xfrm rot="1207565">
            <a:off x="4375419" y="5279693"/>
            <a:ext cx="1032332" cy="400110"/>
          </a:xfrm>
          <a:prstGeom prst="rect">
            <a:avLst/>
          </a:prstGeom>
          <a:noFill/>
        </p:spPr>
        <p:txBody>
          <a:bodyPr wrap="square" rtlCol="0">
            <a:spAutoFit/>
          </a:bodyPr>
          <a:lstStyle/>
          <a:p>
            <a:r>
              <a:rPr lang="en-US" sz="2000" dirty="0"/>
              <a:t>HTTPS</a:t>
            </a:r>
            <a:endParaRPr lang="en-IN" sz="2000" dirty="0"/>
          </a:p>
        </p:txBody>
      </p:sp>
      <p:sp>
        <p:nvSpPr>
          <p:cNvPr id="36" name="Rectangle: Rounded Corners 35">
            <a:extLst>
              <a:ext uri="{FF2B5EF4-FFF2-40B4-BE49-F238E27FC236}">
                <a16:creationId xmlns:a16="http://schemas.microsoft.com/office/drawing/2014/main" id="{79CD73EB-4155-B46A-077B-83BFE769C7CE}"/>
              </a:ext>
            </a:extLst>
          </p:cNvPr>
          <p:cNvSpPr/>
          <p:nvPr/>
        </p:nvSpPr>
        <p:spPr>
          <a:xfrm rot="1154247">
            <a:off x="4128640" y="4618205"/>
            <a:ext cx="1342507" cy="4001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essage</a:t>
            </a:r>
            <a:endParaRPr lang="en-IN" dirty="0"/>
          </a:p>
        </p:txBody>
      </p:sp>
      <p:cxnSp>
        <p:nvCxnSpPr>
          <p:cNvPr id="37" name="Straight Arrow Connector 36">
            <a:extLst>
              <a:ext uri="{FF2B5EF4-FFF2-40B4-BE49-F238E27FC236}">
                <a16:creationId xmlns:a16="http://schemas.microsoft.com/office/drawing/2014/main" id="{0FB54FAB-AC79-3390-DC97-514964EF837B}"/>
              </a:ext>
            </a:extLst>
          </p:cNvPr>
          <p:cNvCxnSpPr>
            <a:cxnSpLocks/>
          </p:cNvCxnSpPr>
          <p:nvPr/>
        </p:nvCxnSpPr>
        <p:spPr>
          <a:xfrm rot="2590560" flipV="1">
            <a:off x="4105206" y="4818260"/>
            <a:ext cx="1618060" cy="71361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0C4CD97-7642-EEAB-F3A6-AE6F4441C8D3}"/>
              </a:ext>
            </a:extLst>
          </p:cNvPr>
          <p:cNvSpPr txBox="1"/>
          <p:nvPr/>
        </p:nvSpPr>
        <p:spPr>
          <a:xfrm>
            <a:off x="9507630" y="3204688"/>
            <a:ext cx="2234603" cy="1569660"/>
          </a:xfrm>
          <a:prstGeom prst="rect">
            <a:avLst/>
          </a:prstGeom>
          <a:noFill/>
        </p:spPr>
        <p:txBody>
          <a:bodyPr wrap="square" rtlCol="0">
            <a:spAutoFit/>
          </a:bodyPr>
          <a:lstStyle/>
          <a:p>
            <a:pPr marL="171450" indent="-171450">
              <a:buFont typeface="Wingdings" panose="05000000000000000000" pitchFamily="2" charset="2"/>
              <a:buChar char="Ø"/>
            </a:pPr>
            <a:r>
              <a:rPr lang="en-US" sz="1600" dirty="0"/>
              <a:t>What Can it do:</a:t>
            </a:r>
          </a:p>
          <a:p>
            <a:r>
              <a:rPr lang="en-US" sz="1600" dirty="0"/>
              <a:t>	</a:t>
            </a:r>
            <a:r>
              <a:rPr lang="en-US" sz="1600" dirty="0" err="1"/>
              <a:t>AgentCard</a:t>
            </a:r>
            <a:endParaRPr lang="en-US" sz="1600" dirty="0"/>
          </a:p>
          <a:p>
            <a:pPr marL="171450" indent="-171450">
              <a:buFont typeface="Wingdings" panose="05000000000000000000" pitchFamily="2" charset="2"/>
              <a:buChar char="Ø"/>
            </a:pPr>
            <a:r>
              <a:rPr lang="en-US" sz="1600" dirty="0"/>
              <a:t>Communication:</a:t>
            </a:r>
          </a:p>
          <a:p>
            <a:pPr lvl="1"/>
            <a:r>
              <a:rPr lang="en-US" sz="1600" dirty="0"/>
              <a:t>Messages</a:t>
            </a:r>
          </a:p>
          <a:p>
            <a:pPr marL="171450" indent="-171450">
              <a:buFont typeface="Wingdings" panose="05000000000000000000" pitchFamily="2" charset="2"/>
              <a:buChar char="Ø"/>
            </a:pPr>
            <a:r>
              <a:rPr lang="en-US" sz="1600" dirty="0"/>
              <a:t>Execution:</a:t>
            </a:r>
          </a:p>
          <a:p>
            <a:pPr lvl="1"/>
            <a:r>
              <a:rPr lang="en-US" sz="1600" dirty="0"/>
              <a:t>Agent Executor</a:t>
            </a:r>
          </a:p>
        </p:txBody>
      </p:sp>
    </p:spTree>
    <p:extLst>
      <p:ext uri="{BB962C8B-B14F-4D97-AF65-F5344CB8AC3E}">
        <p14:creationId xmlns:p14="http://schemas.microsoft.com/office/powerpoint/2010/main" val="19202879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A2A protocol Work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Content Placeholder 2">
            <a:extLst>
              <a:ext uri="{FF2B5EF4-FFF2-40B4-BE49-F238E27FC236}">
                <a16:creationId xmlns:a16="http://schemas.microsoft.com/office/drawing/2014/main" id="{4D21B02A-0027-3EBD-1CD5-E4D4E36EBDFA}"/>
              </a:ext>
            </a:extLst>
          </p:cNvPr>
          <p:cNvSpPr txBox="1">
            <a:spLocks/>
          </p:cNvSpPr>
          <p:nvPr/>
        </p:nvSpPr>
        <p:spPr>
          <a:xfrm>
            <a:off x="810001" y="1676400"/>
            <a:ext cx="10571998" cy="9704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2400">
                <a:ea typeface="Tahoma" panose="020B0604030504040204" pitchFamily="34" charset="0"/>
                <a:cs typeface="Tahoma" panose="020B0604030504040204" pitchFamily="34" charset="0"/>
              </a:rPr>
              <a:t>The A2A protocol follows a client-server model setup with a three-step workflow:</a:t>
            </a:r>
            <a:endParaRPr lang="en-IN" sz="2400" dirty="0">
              <a:ea typeface="Tahoma" panose="020B0604030504040204" pitchFamily="34" charset="0"/>
              <a:cs typeface="Tahoma" panose="020B0604030504040204" pitchFamily="34" charset="0"/>
            </a:endParaRPr>
          </a:p>
        </p:txBody>
      </p:sp>
      <p:graphicFrame>
        <p:nvGraphicFramePr>
          <p:cNvPr id="5" name="Diagram 4">
            <a:extLst>
              <a:ext uri="{FF2B5EF4-FFF2-40B4-BE49-F238E27FC236}">
                <a16:creationId xmlns:a16="http://schemas.microsoft.com/office/drawing/2014/main" id="{05A2457A-B766-84AA-D29C-AA02F52EA9D5}"/>
              </a:ext>
            </a:extLst>
          </p:cNvPr>
          <p:cNvGraphicFramePr/>
          <p:nvPr>
            <p:extLst>
              <p:ext uri="{D42A27DB-BD31-4B8C-83A1-F6EECF244321}">
                <p14:modId xmlns:p14="http://schemas.microsoft.com/office/powerpoint/2010/main" val="638417050"/>
              </p:ext>
            </p:extLst>
          </p:nvPr>
        </p:nvGraphicFramePr>
        <p:xfrm>
          <a:off x="1909337" y="2816965"/>
          <a:ext cx="8128000" cy="31389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03004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185430" y="4085112"/>
            <a:ext cx="3997745" cy="2228758"/>
          </a:xfrm>
        </p:spPr>
        <p:txBody>
          <a:bodyPr vert="horz" lIns="91440" tIns="45720" rIns="91440" bIns="45720" rtlCol="0" anchor="ctr">
            <a:normAutofit lnSpcReduction="10000"/>
          </a:bodyPr>
          <a:lstStyle/>
          <a:p>
            <a:pPr algn="l">
              <a:lnSpc>
                <a:spcPct val="100000"/>
              </a:lnSpc>
            </a:pPr>
            <a:r>
              <a:rPr lang="en-US" sz="2800" b="1" dirty="0"/>
              <a:t>Audience Introduction</a:t>
            </a:r>
          </a:p>
          <a:p>
            <a:pPr algn="l">
              <a:lnSpc>
                <a:spcPct val="100000"/>
              </a:lnSpc>
            </a:pPr>
            <a:r>
              <a:rPr lang="en-US" sz="2000" b="1" dirty="0"/>
              <a:t>Total Exp.</a:t>
            </a:r>
          </a:p>
          <a:p>
            <a:pPr algn="l">
              <a:lnSpc>
                <a:spcPct val="100000"/>
              </a:lnSpc>
            </a:pPr>
            <a:r>
              <a:rPr lang="en-US" sz="2000" b="1" dirty="0"/>
              <a:t>GenAI experienced:</a:t>
            </a:r>
          </a:p>
          <a:p>
            <a:pPr algn="l">
              <a:lnSpc>
                <a:spcPct val="100000"/>
              </a:lnSpc>
            </a:pPr>
            <a:r>
              <a:rPr lang="en-US" sz="2000" b="1" dirty="0"/>
              <a:t>Role: SE/QA/Lead/Manger</a:t>
            </a:r>
          </a:p>
          <a:p>
            <a:pPr algn="l">
              <a:lnSpc>
                <a:spcPct val="100000"/>
              </a:lnSpc>
            </a:pPr>
            <a:r>
              <a:rPr lang="en-US" sz="2000" b="1" dirty="0"/>
              <a:t>             </a:t>
            </a:r>
            <a:endParaRPr lang="en-US" sz="2000" dirty="0"/>
          </a:p>
          <a:p>
            <a:pPr algn="l">
              <a:lnSpc>
                <a:spcPct val="100000"/>
              </a:lnSpc>
            </a:pPr>
            <a:endParaRPr lang="en-US" sz="2000" b="1" dirty="0"/>
          </a:p>
        </p:txBody>
      </p:sp>
      <p:pic>
        <p:nvPicPr>
          <p:cNvPr id="4" name="Picture 3" descr="3D rendering of white waves">
            <a:extLst>
              <a:ext uri="{FF2B5EF4-FFF2-40B4-BE49-F238E27FC236}">
                <a16:creationId xmlns:a16="http://schemas.microsoft.com/office/drawing/2014/main" id="{BECE37D2-C4DF-4873-92C3-30045B164857}"/>
              </a:ext>
            </a:extLst>
          </p:cNvPr>
          <p:cNvPicPr>
            <a:picLocks noChangeAspect="1"/>
          </p:cNvPicPr>
          <p:nvPr/>
        </p:nvPicPr>
        <p:blipFill rotWithShape="1">
          <a:blip r:embed="rId2"/>
          <a:srcRect l="4127" r="-1" b="-1"/>
          <a:stretch/>
        </p:blipFill>
        <p:spPr>
          <a:xfrm>
            <a:off x="532506" y="-10087"/>
            <a:ext cx="5598661" cy="3897958"/>
          </a:xfrm>
          <a:custGeom>
            <a:avLst/>
            <a:gdLst/>
            <a:ahLst/>
            <a:cxnLst/>
            <a:rect l="l" t="t" r="r" b="b"/>
            <a:pathLst>
              <a:path w="5993975" h="4173188">
                <a:moveTo>
                  <a:pt x="0" y="0"/>
                </a:moveTo>
                <a:lnTo>
                  <a:pt x="5993975" y="0"/>
                </a:lnTo>
                <a:lnTo>
                  <a:pt x="5993975" y="4171950"/>
                </a:lnTo>
                <a:lnTo>
                  <a:pt x="5993975" y="4173188"/>
                </a:lnTo>
                <a:cubicBezTo>
                  <a:pt x="3046083" y="4173188"/>
                  <a:pt x="586537" y="2430780"/>
                  <a:pt x="17800" y="114491"/>
                </a:cubicBezTo>
                <a:lnTo>
                  <a:pt x="0" y="31564"/>
                </a:lnTo>
                <a:close/>
              </a:path>
            </a:pathLst>
          </a:custGeom>
        </p:spPr>
      </p:pic>
      <p:pic>
        <p:nvPicPr>
          <p:cNvPr id="5" name="Picture 5" descr="Text&#10;&#10;Description automatically generated">
            <a:extLst>
              <a:ext uri="{FF2B5EF4-FFF2-40B4-BE49-F238E27FC236}">
                <a16:creationId xmlns:a16="http://schemas.microsoft.com/office/drawing/2014/main" id="{04519913-C65A-422A-BBAA-35A002E2CF3F}"/>
              </a:ext>
            </a:extLst>
          </p:cNvPr>
          <p:cNvPicPr>
            <a:picLocks noChangeAspect="1"/>
          </p:cNvPicPr>
          <p:nvPr/>
        </p:nvPicPr>
        <p:blipFill rotWithShape="1">
          <a:blip r:embed="rId3"/>
          <a:srcRect l="24554" r="15903" b="-2"/>
          <a:stretch/>
        </p:blipFill>
        <p:spPr>
          <a:xfrm>
            <a:off x="6077779" y="-10087"/>
            <a:ext cx="5580821" cy="3889782"/>
          </a:xfrm>
          <a:custGeom>
            <a:avLst/>
            <a:gdLst/>
            <a:ahLst/>
            <a:cxnLst/>
            <a:rect l="l" t="t" r="r" b="b"/>
            <a:pathLst>
              <a:path w="5974876" h="4164435">
                <a:moveTo>
                  <a:pt x="0" y="0"/>
                </a:moveTo>
                <a:lnTo>
                  <a:pt x="5974876" y="0"/>
                </a:lnTo>
                <a:lnTo>
                  <a:pt x="5974876" y="76902"/>
                </a:lnTo>
                <a:lnTo>
                  <a:pt x="5966808" y="114491"/>
                </a:lnTo>
                <a:cubicBezTo>
                  <a:pt x="5433616" y="2286012"/>
                  <a:pt x="3238581" y="3953146"/>
                  <a:pt x="537297" y="4153055"/>
                </a:cubicBezTo>
                <a:lnTo>
                  <a:pt x="331985" y="4164435"/>
                </a:lnTo>
                <a:lnTo>
                  <a:pt x="0" y="4164435"/>
                </a:lnTo>
                <a:close/>
              </a:path>
            </a:pathLst>
          </a:custGeom>
        </p:spPr>
      </p:pic>
      <p:pic>
        <p:nvPicPr>
          <p:cNvPr id="2" name="Picture 1">
            <a:extLst>
              <a:ext uri="{FF2B5EF4-FFF2-40B4-BE49-F238E27FC236}">
                <a16:creationId xmlns:a16="http://schemas.microsoft.com/office/drawing/2014/main" id="{04FD3097-0E51-DCA2-34D0-642A8899024B}"/>
              </a:ext>
            </a:extLst>
          </p:cNvPr>
          <p:cNvPicPr>
            <a:picLocks noChangeAspect="1"/>
          </p:cNvPicPr>
          <p:nvPr/>
        </p:nvPicPr>
        <p:blipFill>
          <a:blip r:embed="rId4"/>
          <a:stretch>
            <a:fillRect/>
          </a:stretch>
        </p:blipFill>
        <p:spPr>
          <a:xfrm>
            <a:off x="134179" y="2065812"/>
            <a:ext cx="5943600" cy="4038600"/>
          </a:xfrm>
          <a:prstGeom prst="rect">
            <a:avLst/>
          </a:prstGeom>
        </p:spPr>
      </p:pic>
    </p:spTree>
    <p:extLst>
      <p:ext uri="{BB962C8B-B14F-4D97-AF65-F5344CB8AC3E}">
        <p14:creationId xmlns:p14="http://schemas.microsoft.com/office/powerpoint/2010/main" val="167024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1500"/>
                                  </p:stCondLst>
                                  <p:iterate>
                                    <p:tmPct val="10000"/>
                                  </p:iterate>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7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1500"/>
                                  </p:stCondLst>
                                  <p:iterate>
                                    <p:tmPct val="10000"/>
                                  </p:iterate>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7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500"/>
                                  </p:stCondLst>
                                  <p:iterate>
                                    <p:tmPct val="10000"/>
                                  </p:iterate>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7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1500"/>
                                  </p:stCondLst>
                                  <p:iterate>
                                    <p:tmPct val="10000"/>
                                  </p:iterate>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7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EE63891-4CD0-09D1-E877-A5F2D0E5A664}"/>
              </a:ext>
            </a:extLst>
          </p:cNvPr>
          <p:cNvGrpSpPr/>
          <p:nvPr/>
        </p:nvGrpSpPr>
        <p:grpSpPr>
          <a:xfrm>
            <a:off x="381000" y="381000"/>
            <a:ext cx="10593511" cy="5527951"/>
            <a:chOff x="799245" y="665024"/>
            <a:chExt cx="10593511" cy="5527951"/>
          </a:xfrm>
        </p:grpSpPr>
        <p:sp>
          <p:nvSpPr>
            <p:cNvPr id="2" name="Rectangle: Rounded Corners 1">
              <a:extLst>
                <a:ext uri="{FF2B5EF4-FFF2-40B4-BE49-F238E27FC236}">
                  <a16:creationId xmlns:a16="http://schemas.microsoft.com/office/drawing/2014/main" id="{849A120A-6D23-8CFC-F931-2F530E30DF72}"/>
                </a:ext>
              </a:extLst>
            </p:cNvPr>
            <p:cNvSpPr/>
            <p:nvPr/>
          </p:nvSpPr>
          <p:spPr>
            <a:xfrm>
              <a:off x="799245" y="665024"/>
              <a:ext cx="8218980" cy="5106609"/>
            </a:xfrm>
            <a:prstGeom prst="roundRect">
              <a:avLst/>
            </a:prstGeom>
            <a:blipFill dpi="0" rotWithShape="1">
              <a:blip r:embed="rId2"/>
              <a:srcRect/>
              <a:stretch>
                <a:fillRect l="-9027" r="215"/>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3" name="Group 2">
              <a:extLst>
                <a:ext uri="{FF2B5EF4-FFF2-40B4-BE49-F238E27FC236}">
                  <a16:creationId xmlns:a16="http://schemas.microsoft.com/office/drawing/2014/main" id="{A4AC6931-6EC2-31D1-E8A7-7FBF71B1CBD5}"/>
                </a:ext>
              </a:extLst>
            </p:cNvPr>
            <p:cNvGrpSpPr/>
            <p:nvPr/>
          </p:nvGrpSpPr>
          <p:grpSpPr>
            <a:xfrm>
              <a:off x="4168142" y="5831973"/>
              <a:ext cx="1441163" cy="361002"/>
              <a:chOff x="4389637" y="5782933"/>
              <a:chExt cx="1441163" cy="361002"/>
            </a:xfrm>
          </p:grpSpPr>
          <p:sp>
            <p:nvSpPr>
              <p:cNvPr id="12" name="Rectangle 11">
                <a:extLst>
                  <a:ext uri="{FF2B5EF4-FFF2-40B4-BE49-F238E27FC236}">
                    <a16:creationId xmlns:a16="http://schemas.microsoft.com/office/drawing/2014/main" id="{D784F33B-C2D8-2136-5EF3-1B55B851707B}"/>
                  </a:ext>
                </a:extLst>
              </p:cNvPr>
              <p:cNvSpPr/>
              <p:nvPr/>
            </p:nvSpPr>
            <p:spPr>
              <a:xfrm>
                <a:off x="4389637" y="5782933"/>
                <a:ext cx="1441163" cy="36100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3" name="TextBox 12">
                <a:extLst>
                  <a:ext uri="{FF2B5EF4-FFF2-40B4-BE49-F238E27FC236}">
                    <a16:creationId xmlns:a16="http://schemas.microsoft.com/office/drawing/2014/main" id="{316CE91A-F5DA-C53B-5DCE-4CCC105389D6}"/>
                  </a:ext>
                </a:extLst>
              </p:cNvPr>
              <p:cNvSpPr txBox="1"/>
              <p:nvPr/>
            </p:nvSpPr>
            <p:spPr>
              <a:xfrm>
                <a:off x="4389637" y="5782933"/>
                <a:ext cx="1441163" cy="36100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Discovery</a:t>
                </a:r>
                <a:endParaRPr lang="en-IN" sz="1600" kern="1200" dirty="0"/>
              </a:p>
            </p:txBody>
          </p:sp>
        </p:grpSp>
        <p:sp>
          <p:nvSpPr>
            <p:cNvPr id="4" name="Rectangle: Rounded Corners 3">
              <a:extLst>
                <a:ext uri="{FF2B5EF4-FFF2-40B4-BE49-F238E27FC236}">
                  <a16:creationId xmlns:a16="http://schemas.microsoft.com/office/drawing/2014/main" id="{80E62C54-E291-96D6-BD69-A8FC46C76224}"/>
                </a:ext>
              </a:extLst>
            </p:cNvPr>
            <p:cNvSpPr/>
            <p:nvPr/>
          </p:nvSpPr>
          <p:spPr>
            <a:xfrm>
              <a:off x="9695190" y="2043213"/>
              <a:ext cx="1688263" cy="984013"/>
            </a:xfrm>
            <a:prstGeom prst="roundRect">
              <a:avLst/>
            </a:prstGeom>
            <a:blipFill dpi="0" rotWithShape="1">
              <a:blip r:embed="rId3"/>
              <a:srcRect/>
              <a:stretch>
                <a:fillRect l="-11245" r="-216"/>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5" name="Group 4">
              <a:extLst>
                <a:ext uri="{FF2B5EF4-FFF2-40B4-BE49-F238E27FC236}">
                  <a16:creationId xmlns:a16="http://schemas.microsoft.com/office/drawing/2014/main" id="{CF586B19-4FF9-535A-DD5F-24E3877C0F62}"/>
                </a:ext>
              </a:extLst>
            </p:cNvPr>
            <p:cNvGrpSpPr/>
            <p:nvPr/>
          </p:nvGrpSpPr>
          <p:grpSpPr>
            <a:xfrm>
              <a:off x="9695426" y="3056202"/>
              <a:ext cx="1688263" cy="529853"/>
              <a:chOff x="9916921" y="3007162"/>
              <a:chExt cx="1688263" cy="529853"/>
            </a:xfrm>
          </p:grpSpPr>
          <p:sp>
            <p:nvSpPr>
              <p:cNvPr id="10" name="Rectangle 9">
                <a:extLst>
                  <a:ext uri="{FF2B5EF4-FFF2-40B4-BE49-F238E27FC236}">
                    <a16:creationId xmlns:a16="http://schemas.microsoft.com/office/drawing/2014/main" id="{931E9622-0CA3-057A-6C51-B9227CACB41B}"/>
                  </a:ext>
                </a:extLst>
              </p:cNvPr>
              <p:cNvSpPr/>
              <p:nvPr/>
            </p:nvSpPr>
            <p:spPr>
              <a:xfrm>
                <a:off x="9916921" y="3007162"/>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1" name="TextBox 10">
                <a:extLst>
                  <a:ext uri="{FF2B5EF4-FFF2-40B4-BE49-F238E27FC236}">
                    <a16:creationId xmlns:a16="http://schemas.microsoft.com/office/drawing/2014/main" id="{ED871C7F-0E88-9D2A-F0E4-A4E9C006F1FF}"/>
                  </a:ext>
                </a:extLst>
              </p:cNvPr>
              <p:cNvSpPr txBox="1"/>
              <p:nvPr/>
            </p:nvSpPr>
            <p:spPr>
              <a:xfrm>
                <a:off x="9916921" y="3007162"/>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dirty="0">
                    <a:ea typeface="Tahoma" panose="020B0604030504040204" pitchFamily="34" charset="0"/>
                    <a:cs typeface="Tahoma" panose="020B0604030504040204" pitchFamily="34" charset="0"/>
                  </a:rPr>
                  <a:t>Authentication</a:t>
                </a:r>
                <a:endParaRPr lang="en-IN" sz="1600" kern="1200" dirty="0"/>
              </a:p>
            </p:txBody>
          </p:sp>
        </p:grpSp>
        <p:sp>
          <p:nvSpPr>
            <p:cNvPr id="6" name="Rectangle: Rounded Corners 5">
              <a:extLst>
                <a:ext uri="{FF2B5EF4-FFF2-40B4-BE49-F238E27FC236}">
                  <a16:creationId xmlns:a16="http://schemas.microsoft.com/office/drawing/2014/main" id="{5134A13C-22EC-C31C-BA4F-5E66B4B7135A}"/>
                </a:ext>
              </a:extLst>
            </p:cNvPr>
            <p:cNvSpPr/>
            <p:nvPr/>
          </p:nvSpPr>
          <p:spPr>
            <a:xfrm>
              <a:off x="9704286" y="3460768"/>
              <a:ext cx="1688263" cy="984013"/>
            </a:xfrm>
            <a:prstGeom prst="roundRect">
              <a:avLst/>
            </a:prstGeom>
            <a:blipFill dpi="0" rotWithShape="1">
              <a:blip r:embed="rId4"/>
              <a:srcRect/>
              <a:stretch>
                <a:fillRect l="-125" r="1303"/>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7" name="Group 6">
              <a:extLst>
                <a:ext uri="{FF2B5EF4-FFF2-40B4-BE49-F238E27FC236}">
                  <a16:creationId xmlns:a16="http://schemas.microsoft.com/office/drawing/2014/main" id="{AC7F1DD9-7655-5626-686E-42F0E84F7E3C}"/>
                </a:ext>
              </a:extLst>
            </p:cNvPr>
            <p:cNvGrpSpPr/>
            <p:nvPr/>
          </p:nvGrpSpPr>
          <p:grpSpPr>
            <a:xfrm>
              <a:off x="9704493" y="4473758"/>
              <a:ext cx="1688263" cy="529853"/>
              <a:chOff x="9925988" y="4424718"/>
              <a:chExt cx="1688263" cy="529853"/>
            </a:xfrm>
          </p:grpSpPr>
          <p:sp>
            <p:nvSpPr>
              <p:cNvPr id="8" name="Rectangle 7">
                <a:extLst>
                  <a:ext uri="{FF2B5EF4-FFF2-40B4-BE49-F238E27FC236}">
                    <a16:creationId xmlns:a16="http://schemas.microsoft.com/office/drawing/2014/main" id="{D9BF442C-E4BC-6DD6-9273-1E0AD565B27A}"/>
                  </a:ext>
                </a:extLst>
              </p:cNvPr>
              <p:cNvSpPr/>
              <p:nvPr/>
            </p:nvSpPr>
            <p:spPr>
              <a:xfrm>
                <a:off x="9925988" y="4424718"/>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9" name="TextBox 8">
                <a:extLst>
                  <a:ext uri="{FF2B5EF4-FFF2-40B4-BE49-F238E27FC236}">
                    <a16:creationId xmlns:a16="http://schemas.microsoft.com/office/drawing/2014/main" id="{CB21577B-98E5-C804-6A24-663C43206B3B}"/>
                  </a:ext>
                </a:extLst>
              </p:cNvPr>
              <p:cNvSpPr txBox="1"/>
              <p:nvPr/>
            </p:nvSpPr>
            <p:spPr>
              <a:xfrm>
                <a:off x="9925988" y="4424718"/>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a:ea typeface="Tahoma" panose="020B0604030504040204" pitchFamily="34" charset="0"/>
                    <a:cs typeface="Tahoma" panose="020B0604030504040204" pitchFamily="34" charset="0"/>
                  </a:rPr>
                  <a:t>Communication</a:t>
                </a:r>
                <a:endParaRPr lang="en-IN" sz="1600" kern="1200" dirty="0">
                  <a:ea typeface="Tahoma" panose="020B0604030504040204" pitchFamily="34" charset="0"/>
                  <a:cs typeface="Tahoma" panose="020B0604030504040204" pitchFamily="34" charset="0"/>
                </a:endParaRPr>
              </a:p>
            </p:txBody>
          </p:sp>
        </p:grpSp>
      </p:grpSp>
    </p:spTree>
    <p:extLst>
      <p:ext uri="{BB962C8B-B14F-4D97-AF65-F5344CB8AC3E}">
        <p14:creationId xmlns:p14="http://schemas.microsoft.com/office/powerpoint/2010/main" val="3694784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1C32D-D474-BE5E-A699-42FBD9B2E193}"/>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DC26D12-103D-C050-2E78-D9A3799ED2A4}"/>
              </a:ext>
            </a:extLst>
          </p:cNvPr>
          <p:cNvSpPr/>
          <p:nvPr/>
        </p:nvSpPr>
        <p:spPr>
          <a:xfrm>
            <a:off x="9704286" y="1626256"/>
            <a:ext cx="1679403" cy="945499"/>
          </a:xfrm>
          <a:prstGeom prst="roundRect">
            <a:avLst/>
          </a:prstGeom>
          <a:blipFill dpi="0" rotWithShape="1">
            <a:blip r:embed="rId2"/>
            <a:srcRect/>
            <a:stretch>
              <a:fillRect l="-9027" r="215"/>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3" name="Group 2">
            <a:extLst>
              <a:ext uri="{FF2B5EF4-FFF2-40B4-BE49-F238E27FC236}">
                <a16:creationId xmlns:a16="http://schemas.microsoft.com/office/drawing/2014/main" id="{5DBAA90A-2F22-21B3-D5D9-7459F965E4B3}"/>
              </a:ext>
            </a:extLst>
          </p:cNvPr>
          <p:cNvGrpSpPr/>
          <p:nvPr/>
        </p:nvGrpSpPr>
        <p:grpSpPr>
          <a:xfrm>
            <a:off x="4168142" y="5430198"/>
            <a:ext cx="1797760" cy="361002"/>
            <a:chOff x="4389637" y="5782933"/>
            <a:chExt cx="1441163" cy="361002"/>
          </a:xfrm>
        </p:grpSpPr>
        <p:sp>
          <p:nvSpPr>
            <p:cNvPr id="12" name="Rectangle 11">
              <a:extLst>
                <a:ext uri="{FF2B5EF4-FFF2-40B4-BE49-F238E27FC236}">
                  <a16:creationId xmlns:a16="http://schemas.microsoft.com/office/drawing/2014/main" id="{45DBCA24-0156-4A1E-AA8E-A6CD82ED768A}"/>
                </a:ext>
              </a:extLst>
            </p:cNvPr>
            <p:cNvSpPr/>
            <p:nvPr/>
          </p:nvSpPr>
          <p:spPr>
            <a:xfrm>
              <a:off x="4389637" y="5782933"/>
              <a:ext cx="1441163" cy="36100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3" name="TextBox 12">
              <a:extLst>
                <a:ext uri="{FF2B5EF4-FFF2-40B4-BE49-F238E27FC236}">
                  <a16:creationId xmlns:a16="http://schemas.microsoft.com/office/drawing/2014/main" id="{99526C10-0E1F-25C6-D437-5D363805052D}"/>
                </a:ext>
              </a:extLst>
            </p:cNvPr>
            <p:cNvSpPr txBox="1"/>
            <p:nvPr/>
          </p:nvSpPr>
          <p:spPr>
            <a:xfrm>
              <a:off x="4389637" y="5782933"/>
              <a:ext cx="1441163" cy="36100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Authentication</a:t>
              </a:r>
              <a:endParaRPr lang="en-IN" sz="1600" kern="1200" dirty="0"/>
            </a:p>
          </p:txBody>
        </p:sp>
      </p:grpSp>
      <p:sp>
        <p:nvSpPr>
          <p:cNvPr id="4" name="Rectangle: Rounded Corners 3">
            <a:extLst>
              <a:ext uri="{FF2B5EF4-FFF2-40B4-BE49-F238E27FC236}">
                <a16:creationId xmlns:a16="http://schemas.microsoft.com/office/drawing/2014/main" id="{FE66E6B6-CE5E-818E-87AF-6619DDEDDD5D}"/>
              </a:ext>
            </a:extLst>
          </p:cNvPr>
          <p:cNvSpPr/>
          <p:nvPr/>
        </p:nvSpPr>
        <p:spPr>
          <a:xfrm>
            <a:off x="808311" y="263250"/>
            <a:ext cx="8218980" cy="5106609"/>
          </a:xfrm>
          <a:prstGeom prst="roundRect">
            <a:avLst/>
          </a:prstGeom>
          <a:blipFill dpi="0" rotWithShape="1">
            <a:blip r:embed="rId3"/>
            <a:srcRect/>
            <a:stretch>
              <a:fillRect l="-11245" r="-216"/>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dirty="0"/>
          </a:p>
        </p:txBody>
      </p:sp>
      <p:grpSp>
        <p:nvGrpSpPr>
          <p:cNvPr id="5" name="Group 4">
            <a:extLst>
              <a:ext uri="{FF2B5EF4-FFF2-40B4-BE49-F238E27FC236}">
                <a16:creationId xmlns:a16="http://schemas.microsoft.com/office/drawing/2014/main" id="{33700A6A-9122-F2AE-D8E0-1F6213BD1D09}"/>
              </a:ext>
            </a:extLst>
          </p:cNvPr>
          <p:cNvGrpSpPr/>
          <p:nvPr/>
        </p:nvGrpSpPr>
        <p:grpSpPr>
          <a:xfrm>
            <a:off x="9695426" y="2654427"/>
            <a:ext cx="1688263" cy="529853"/>
            <a:chOff x="9916921" y="3007162"/>
            <a:chExt cx="1688263" cy="529853"/>
          </a:xfrm>
        </p:grpSpPr>
        <p:sp>
          <p:nvSpPr>
            <p:cNvPr id="10" name="Rectangle 9">
              <a:extLst>
                <a:ext uri="{FF2B5EF4-FFF2-40B4-BE49-F238E27FC236}">
                  <a16:creationId xmlns:a16="http://schemas.microsoft.com/office/drawing/2014/main" id="{BF547669-106E-020E-0C5C-44DA84EE94FC}"/>
                </a:ext>
              </a:extLst>
            </p:cNvPr>
            <p:cNvSpPr/>
            <p:nvPr/>
          </p:nvSpPr>
          <p:spPr>
            <a:xfrm>
              <a:off x="9916921" y="3007162"/>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1" name="TextBox 10">
              <a:extLst>
                <a:ext uri="{FF2B5EF4-FFF2-40B4-BE49-F238E27FC236}">
                  <a16:creationId xmlns:a16="http://schemas.microsoft.com/office/drawing/2014/main" id="{EBD9E5F8-6291-668A-7EE3-5DE764FF4A85}"/>
                </a:ext>
              </a:extLst>
            </p:cNvPr>
            <p:cNvSpPr txBox="1"/>
            <p:nvPr/>
          </p:nvSpPr>
          <p:spPr>
            <a:xfrm>
              <a:off x="9916921" y="3007162"/>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dirty="0">
                  <a:ea typeface="Tahoma" panose="020B0604030504040204" pitchFamily="34" charset="0"/>
                  <a:cs typeface="Tahoma" panose="020B0604030504040204" pitchFamily="34" charset="0"/>
                </a:rPr>
                <a:t>Discovery</a:t>
              </a:r>
              <a:endParaRPr lang="en-IN" sz="1600" kern="1200" dirty="0"/>
            </a:p>
          </p:txBody>
        </p:sp>
      </p:grpSp>
      <p:sp>
        <p:nvSpPr>
          <p:cNvPr id="6" name="Rectangle: Rounded Corners 5">
            <a:extLst>
              <a:ext uri="{FF2B5EF4-FFF2-40B4-BE49-F238E27FC236}">
                <a16:creationId xmlns:a16="http://schemas.microsoft.com/office/drawing/2014/main" id="{41253879-6CDD-A039-EE1C-1B99AC430A8C}"/>
              </a:ext>
            </a:extLst>
          </p:cNvPr>
          <p:cNvSpPr/>
          <p:nvPr/>
        </p:nvSpPr>
        <p:spPr>
          <a:xfrm>
            <a:off x="9704286" y="3058993"/>
            <a:ext cx="1688263" cy="984013"/>
          </a:xfrm>
          <a:prstGeom prst="roundRect">
            <a:avLst/>
          </a:prstGeom>
          <a:blipFill dpi="0" rotWithShape="1">
            <a:blip r:embed="rId4"/>
            <a:srcRect/>
            <a:stretch>
              <a:fillRect l="-125" r="1303"/>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7" name="Group 6">
            <a:extLst>
              <a:ext uri="{FF2B5EF4-FFF2-40B4-BE49-F238E27FC236}">
                <a16:creationId xmlns:a16="http://schemas.microsoft.com/office/drawing/2014/main" id="{5E4DCF02-0542-8AC4-EC93-C4D6D765C6A5}"/>
              </a:ext>
            </a:extLst>
          </p:cNvPr>
          <p:cNvGrpSpPr/>
          <p:nvPr/>
        </p:nvGrpSpPr>
        <p:grpSpPr>
          <a:xfrm>
            <a:off x="9704493" y="4071983"/>
            <a:ext cx="1688263" cy="529853"/>
            <a:chOff x="9925988" y="4424718"/>
            <a:chExt cx="1688263" cy="529853"/>
          </a:xfrm>
        </p:grpSpPr>
        <p:sp>
          <p:nvSpPr>
            <p:cNvPr id="8" name="Rectangle 7">
              <a:extLst>
                <a:ext uri="{FF2B5EF4-FFF2-40B4-BE49-F238E27FC236}">
                  <a16:creationId xmlns:a16="http://schemas.microsoft.com/office/drawing/2014/main" id="{11DC5BB0-B24F-335F-26A1-1A809F8911C0}"/>
                </a:ext>
              </a:extLst>
            </p:cNvPr>
            <p:cNvSpPr/>
            <p:nvPr/>
          </p:nvSpPr>
          <p:spPr>
            <a:xfrm>
              <a:off x="9925988" y="4424718"/>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9" name="TextBox 8">
              <a:extLst>
                <a:ext uri="{FF2B5EF4-FFF2-40B4-BE49-F238E27FC236}">
                  <a16:creationId xmlns:a16="http://schemas.microsoft.com/office/drawing/2014/main" id="{286A4894-2190-2549-4CEC-92BACC6A5F7A}"/>
                </a:ext>
              </a:extLst>
            </p:cNvPr>
            <p:cNvSpPr txBox="1"/>
            <p:nvPr/>
          </p:nvSpPr>
          <p:spPr>
            <a:xfrm>
              <a:off x="9925988" y="4424718"/>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a:ea typeface="Tahoma" panose="020B0604030504040204" pitchFamily="34" charset="0"/>
                  <a:cs typeface="Tahoma" panose="020B0604030504040204" pitchFamily="34" charset="0"/>
                </a:rPr>
                <a:t>Communication</a:t>
              </a:r>
              <a:endParaRPr lang="en-IN" sz="1600" kern="1200" dirty="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462703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9F5C3-BAFB-5F08-9E36-48B7363F2CEC}"/>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E755BA7D-197C-E658-B263-37E1D1FA5893}"/>
              </a:ext>
            </a:extLst>
          </p:cNvPr>
          <p:cNvSpPr/>
          <p:nvPr/>
        </p:nvSpPr>
        <p:spPr>
          <a:xfrm>
            <a:off x="9704286" y="1778656"/>
            <a:ext cx="1679403" cy="945499"/>
          </a:xfrm>
          <a:prstGeom prst="roundRect">
            <a:avLst/>
          </a:prstGeom>
          <a:blipFill dpi="0" rotWithShape="1">
            <a:blip r:embed="rId2"/>
            <a:srcRect/>
            <a:stretch>
              <a:fillRect l="-9027" r="215"/>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3" name="Group 2">
            <a:extLst>
              <a:ext uri="{FF2B5EF4-FFF2-40B4-BE49-F238E27FC236}">
                <a16:creationId xmlns:a16="http://schemas.microsoft.com/office/drawing/2014/main" id="{E47ED5BC-95CC-FD47-D7A1-9DFF150BC861}"/>
              </a:ext>
            </a:extLst>
          </p:cNvPr>
          <p:cNvGrpSpPr/>
          <p:nvPr/>
        </p:nvGrpSpPr>
        <p:grpSpPr>
          <a:xfrm>
            <a:off x="4168142" y="5582598"/>
            <a:ext cx="1797760" cy="361002"/>
            <a:chOff x="4389637" y="5782933"/>
            <a:chExt cx="1441163" cy="361002"/>
          </a:xfrm>
        </p:grpSpPr>
        <p:sp>
          <p:nvSpPr>
            <p:cNvPr id="12" name="Rectangle 11">
              <a:extLst>
                <a:ext uri="{FF2B5EF4-FFF2-40B4-BE49-F238E27FC236}">
                  <a16:creationId xmlns:a16="http://schemas.microsoft.com/office/drawing/2014/main" id="{CFEB38C2-CB68-73D7-9F7F-68C3142EA1BD}"/>
                </a:ext>
              </a:extLst>
            </p:cNvPr>
            <p:cNvSpPr/>
            <p:nvPr/>
          </p:nvSpPr>
          <p:spPr>
            <a:xfrm>
              <a:off x="4389637" y="5782933"/>
              <a:ext cx="1441163" cy="36100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3" name="TextBox 12">
              <a:extLst>
                <a:ext uri="{FF2B5EF4-FFF2-40B4-BE49-F238E27FC236}">
                  <a16:creationId xmlns:a16="http://schemas.microsoft.com/office/drawing/2014/main" id="{AFE46CE3-E92D-F0EA-A3DB-1236201CF992}"/>
                </a:ext>
              </a:extLst>
            </p:cNvPr>
            <p:cNvSpPr txBox="1"/>
            <p:nvPr/>
          </p:nvSpPr>
          <p:spPr>
            <a:xfrm>
              <a:off x="4389637" y="5782933"/>
              <a:ext cx="1441163" cy="36100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Communication</a:t>
              </a:r>
              <a:endParaRPr lang="en-IN" sz="1600" kern="1200" dirty="0"/>
            </a:p>
          </p:txBody>
        </p:sp>
      </p:grpSp>
      <p:sp>
        <p:nvSpPr>
          <p:cNvPr id="4" name="Rectangle: Rounded Corners 3">
            <a:extLst>
              <a:ext uri="{FF2B5EF4-FFF2-40B4-BE49-F238E27FC236}">
                <a16:creationId xmlns:a16="http://schemas.microsoft.com/office/drawing/2014/main" id="{884908D0-526B-63E3-8A4D-54979DD24FEE}"/>
              </a:ext>
            </a:extLst>
          </p:cNvPr>
          <p:cNvSpPr/>
          <p:nvPr/>
        </p:nvSpPr>
        <p:spPr>
          <a:xfrm>
            <a:off x="9704286" y="3266435"/>
            <a:ext cx="1679403" cy="957948"/>
          </a:xfrm>
          <a:prstGeom prst="roundRect">
            <a:avLst/>
          </a:prstGeom>
          <a:blipFill dpi="0" rotWithShape="1">
            <a:blip r:embed="rId3"/>
            <a:srcRect/>
            <a:stretch>
              <a:fillRect l="-11245" r="-216"/>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dirty="0"/>
          </a:p>
        </p:txBody>
      </p:sp>
      <p:grpSp>
        <p:nvGrpSpPr>
          <p:cNvPr id="5" name="Group 4">
            <a:extLst>
              <a:ext uri="{FF2B5EF4-FFF2-40B4-BE49-F238E27FC236}">
                <a16:creationId xmlns:a16="http://schemas.microsoft.com/office/drawing/2014/main" id="{84193DBC-1B90-257D-A19E-7DAD31DFF161}"/>
              </a:ext>
            </a:extLst>
          </p:cNvPr>
          <p:cNvGrpSpPr/>
          <p:nvPr/>
        </p:nvGrpSpPr>
        <p:grpSpPr>
          <a:xfrm>
            <a:off x="9695426" y="2806827"/>
            <a:ext cx="1688263" cy="529853"/>
            <a:chOff x="9916921" y="3007162"/>
            <a:chExt cx="1688263" cy="529853"/>
          </a:xfrm>
        </p:grpSpPr>
        <p:sp>
          <p:nvSpPr>
            <p:cNvPr id="10" name="Rectangle 9">
              <a:extLst>
                <a:ext uri="{FF2B5EF4-FFF2-40B4-BE49-F238E27FC236}">
                  <a16:creationId xmlns:a16="http://schemas.microsoft.com/office/drawing/2014/main" id="{A2964C1E-FF57-7F18-58DE-5697458E9594}"/>
                </a:ext>
              </a:extLst>
            </p:cNvPr>
            <p:cNvSpPr/>
            <p:nvPr/>
          </p:nvSpPr>
          <p:spPr>
            <a:xfrm>
              <a:off x="9916921" y="3007162"/>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11" name="TextBox 10">
              <a:extLst>
                <a:ext uri="{FF2B5EF4-FFF2-40B4-BE49-F238E27FC236}">
                  <a16:creationId xmlns:a16="http://schemas.microsoft.com/office/drawing/2014/main" id="{FE0E51AE-D349-5741-3F29-6B6476574310}"/>
                </a:ext>
              </a:extLst>
            </p:cNvPr>
            <p:cNvSpPr txBox="1"/>
            <p:nvPr/>
          </p:nvSpPr>
          <p:spPr>
            <a:xfrm>
              <a:off x="9916921" y="3007162"/>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dirty="0">
                  <a:ea typeface="Tahoma" panose="020B0604030504040204" pitchFamily="34" charset="0"/>
                  <a:cs typeface="Tahoma" panose="020B0604030504040204" pitchFamily="34" charset="0"/>
                </a:rPr>
                <a:t>Discovery</a:t>
              </a:r>
              <a:endParaRPr lang="en-IN" sz="1600" kern="1200" dirty="0"/>
            </a:p>
          </p:txBody>
        </p:sp>
      </p:grpSp>
      <p:sp>
        <p:nvSpPr>
          <p:cNvPr id="6" name="Rectangle: Rounded Corners 5">
            <a:extLst>
              <a:ext uri="{FF2B5EF4-FFF2-40B4-BE49-F238E27FC236}">
                <a16:creationId xmlns:a16="http://schemas.microsoft.com/office/drawing/2014/main" id="{A00F4D9B-5359-A974-7001-4E140DBE32FA}"/>
              </a:ext>
            </a:extLst>
          </p:cNvPr>
          <p:cNvSpPr/>
          <p:nvPr/>
        </p:nvSpPr>
        <p:spPr>
          <a:xfrm>
            <a:off x="808311" y="415650"/>
            <a:ext cx="8218980" cy="5106609"/>
          </a:xfrm>
          <a:prstGeom prst="roundRect">
            <a:avLst/>
          </a:prstGeom>
          <a:blipFill dpi="0" rotWithShape="1">
            <a:blip r:embed="rId4"/>
            <a:srcRect/>
            <a:stretch>
              <a:fillRect l="-125" r="1303"/>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IN"/>
          </a:p>
        </p:txBody>
      </p:sp>
      <p:grpSp>
        <p:nvGrpSpPr>
          <p:cNvPr id="7" name="Group 6">
            <a:extLst>
              <a:ext uri="{FF2B5EF4-FFF2-40B4-BE49-F238E27FC236}">
                <a16:creationId xmlns:a16="http://schemas.microsoft.com/office/drawing/2014/main" id="{7911EABA-4C36-66A9-358A-AA5CD4228463}"/>
              </a:ext>
            </a:extLst>
          </p:cNvPr>
          <p:cNvGrpSpPr/>
          <p:nvPr/>
        </p:nvGrpSpPr>
        <p:grpSpPr>
          <a:xfrm>
            <a:off x="9704493" y="4224383"/>
            <a:ext cx="1688263" cy="529853"/>
            <a:chOff x="9925988" y="4424718"/>
            <a:chExt cx="1688263" cy="529853"/>
          </a:xfrm>
        </p:grpSpPr>
        <p:sp>
          <p:nvSpPr>
            <p:cNvPr id="8" name="Rectangle 7">
              <a:extLst>
                <a:ext uri="{FF2B5EF4-FFF2-40B4-BE49-F238E27FC236}">
                  <a16:creationId xmlns:a16="http://schemas.microsoft.com/office/drawing/2014/main" id="{95EE2E59-3703-9008-8C74-095897BC828A}"/>
                </a:ext>
              </a:extLst>
            </p:cNvPr>
            <p:cNvSpPr/>
            <p:nvPr/>
          </p:nvSpPr>
          <p:spPr>
            <a:xfrm>
              <a:off x="9925988" y="4424718"/>
              <a:ext cx="1688263" cy="5298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IN"/>
            </a:p>
          </p:txBody>
        </p:sp>
        <p:sp>
          <p:nvSpPr>
            <p:cNvPr id="9" name="TextBox 8">
              <a:extLst>
                <a:ext uri="{FF2B5EF4-FFF2-40B4-BE49-F238E27FC236}">
                  <a16:creationId xmlns:a16="http://schemas.microsoft.com/office/drawing/2014/main" id="{33EA7587-A5CF-F36D-2511-CB9204883AB3}"/>
                </a:ext>
              </a:extLst>
            </p:cNvPr>
            <p:cNvSpPr txBox="1"/>
            <p:nvPr/>
          </p:nvSpPr>
          <p:spPr>
            <a:xfrm>
              <a:off x="9925988" y="4424718"/>
              <a:ext cx="1688263" cy="5298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kern="1200" dirty="0">
                  <a:ea typeface="Tahoma" panose="020B0604030504040204" pitchFamily="34" charset="0"/>
                  <a:cs typeface="Tahoma" panose="020B0604030504040204" pitchFamily="34" charset="0"/>
                </a:rPr>
                <a:t>Authentication</a:t>
              </a:r>
            </a:p>
          </p:txBody>
        </p:sp>
      </p:grpSp>
    </p:spTree>
    <p:extLst>
      <p:ext uri="{BB962C8B-B14F-4D97-AF65-F5344CB8AC3E}">
        <p14:creationId xmlns:p14="http://schemas.microsoft.com/office/powerpoint/2010/main" val="2138783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9F5C3-BAFB-5F08-9E36-48B7363F2CEC}"/>
            </a:ext>
          </a:extLst>
        </p:cNvPr>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B0DDC912-E82C-8BB8-A267-469331202711}"/>
              </a:ext>
            </a:extLst>
          </p:cNvPr>
          <p:cNvSpPr/>
          <p:nvPr/>
        </p:nvSpPr>
        <p:spPr>
          <a:xfrm>
            <a:off x="2514600" y="1143000"/>
            <a:ext cx="6978805" cy="4088780"/>
          </a:xfrm>
          <a:prstGeom prst="round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dirty="0">
                <a:latin typeface="Consolas" panose="020B0609020204030204" pitchFamily="49" charset="0"/>
              </a:rPr>
              <a:t>Class </a:t>
            </a:r>
            <a:r>
              <a:rPr lang="en-US" dirty="0" err="1">
                <a:latin typeface="Consolas" panose="020B0609020204030204" pitchFamily="49" charset="0"/>
              </a:rPr>
              <a:t>ExampleAgentExecutor</a:t>
            </a:r>
            <a:r>
              <a:rPr lang="en-US" dirty="0">
                <a:latin typeface="Consolas" panose="020B0609020204030204" pitchFamily="49" charset="0"/>
              </a:rPr>
              <a:t>(</a:t>
            </a:r>
            <a:r>
              <a:rPr lang="en-US" dirty="0" err="1">
                <a:latin typeface="Consolas" panose="020B0609020204030204" pitchFamily="49" charset="0"/>
              </a:rPr>
              <a:t>AgentExecutor</a:t>
            </a:r>
            <a:r>
              <a:rPr lang="en-US" dirty="0">
                <a:latin typeface="Consolas" panose="020B0609020204030204" pitchFamily="49" charset="0"/>
              </a:rPr>
              <a:t>):</a:t>
            </a:r>
          </a:p>
          <a:p>
            <a:endParaRPr lang="en-US" dirty="0">
              <a:latin typeface="Consolas" panose="020B0609020204030204" pitchFamily="49" charset="0"/>
            </a:endParaRPr>
          </a:p>
          <a:p>
            <a:r>
              <a:rPr lang="en-US" dirty="0">
                <a:latin typeface="Consolas" panose="020B0609020204030204" pitchFamily="49" charset="0"/>
              </a:rPr>
              <a:t>def __init__(self):</a:t>
            </a:r>
          </a:p>
          <a:p>
            <a:r>
              <a:rPr lang="en-US" dirty="0">
                <a:latin typeface="Consolas" panose="020B0609020204030204" pitchFamily="49" charset="0"/>
              </a:rPr>
              <a:t>	</a:t>
            </a:r>
            <a:r>
              <a:rPr lang="en-US" dirty="0" err="1">
                <a:latin typeface="Consolas" panose="020B0609020204030204" pitchFamily="49" charset="0"/>
              </a:rPr>
              <a:t>self.agent</a:t>
            </a:r>
            <a:r>
              <a:rPr lang="en-US" dirty="0">
                <a:latin typeface="Consolas" panose="020B0609020204030204" pitchFamily="49" charset="0"/>
              </a:rPr>
              <a:t> = </a:t>
            </a:r>
            <a:r>
              <a:rPr lang="en-US" dirty="0" err="1">
                <a:latin typeface="Consolas" panose="020B0609020204030204" pitchFamily="49" charset="0"/>
              </a:rPr>
              <a:t>ExampleAgent</a:t>
            </a:r>
            <a:r>
              <a:rPr lang="en-US" dirty="0">
                <a:latin typeface="Consolas" panose="020B0609020204030204" pitchFamily="49" charset="0"/>
              </a:rPr>
              <a:t>()</a:t>
            </a:r>
          </a:p>
          <a:p>
            <a:endParaRPr lang="en-US" dirty="0">
              <a:latin typeface="Consolas" panose="020B0609020204030204" pitchFamily="49" charset="0"/>
            </a:endParaRPr>
          </a:p>
          <a:p>
            <a:r>
              <a:rPr lang="en-US" dirty="0">
                <a:latin typeface="Consolas" panose="020B0609020204030204" pitchFamily="49" charset="0"/>
              </a:rPr>
              <a:t>def execute(self, request, </a:t>
            </a:r>
            <a:r>
              <a:rPr lang="en-US" dirty="0" err="1">
                <a:latin typeface="Consolas" panose="020B0609020204030204" pitchFamily="49" charset="0"/>
              </a:rPr>
              <a:t>taskId</a:t>
            </a:r>
            <a:r>
              <a:rPr lang="en-US" dirty="0">
                <a:latin typeface="Consolas" panose="020B0609020204030204" pitchFamily="49" charset="0"/>
              </a:rPr>
              <a:t>, </a:t>
            </a:r>
            <a:r>
              <a:rPr lang="en-US" dirty="0" err="1">
                <a:latin typeface="Consolas" panose="020B0609020204030204" pitchFamily="49" charset="0"/>
              </a:rPr>
              <a:t>contextId</a:t>
            </a:r>
            <a:r>
              <a:rPr lang="en-US" dirty="0">
                <a:latin typeface="Consolas" panose="020B0609020204030204" pitchFamily="49" charset="0"/>
              </a:rPr>
              <a:t>,..):</a:t>
            </a:r>
          </a:p>
          <a:p>
            <a:r>
              <a:rPr lang="en-US" dirty="0">
                <a:latin typeface="Consolas" panose="020B0609020204030204" pitchFamily="49" charset="0"/>
              </a:rPr>
              <a:t>	TODO:</a:t>
            </a:r>
          </a:p>
          <a:p>
            <a:endParaRPr lang="en-US" dirty="0">
              <a:latin typeface="Consolas" panose="020B0609020204030204" pitchFamily="49" charset="0"/>
            </a:endParaRPr>
          </a:p>
          <a:p>
            <a:r>
              <a:rPr lang="en-US" dirty="0">
                <a:latin typeface="Consolas" panose="020B0609020204030204" pitchFamily="49" charset="0"/>
              </a:rPr>
              <a:t>def cancel(self, request, </a:t>
            </a:r>
            <a:r>
              <a:rPr lang="en-US" dirty="0" err="1">
                <a:latin typeface="Consolas" panose="020B0609020204030204" pitchFamily="49" charset="0"/>
              </a:rPr>
              <a:t>taskId</a:t>
            </a:r>
            <a:r>
              <a:rPr lang="en-US" dirty="0">
                <a:latin typeface="Consolas" panose="020B0609020204030204" pitchFamily="49" charset="0"/>
              </a:rPr>
              <a:t>, </a:t>
            </a:r>
            <a:r>
              <a:rPr lang="en-US" dirty="0" err="1">
                <a:latin typeface="Consolas" panose="020B0609020204030204" pitchFamily="49" charset="0"/>
              </a:rPr>
              <a:t>contextId</a:t>
            </a:r>
            <a:r>
              <a:rPr lang="en-US" dirty="0">
                <a:latin typeface="Consolas" panose="020B0609020204030204" pitchFamily="49" charset="0"/>
              </a:rPr>
              <a:t>,..):</a:t>
            </a:r>
          </a:p>
          <a:p>
            <a:r>
              <a:rPr lang="en-US" dirty="0">
                <a:latin typeface="Consolas" panose="020B0609020204030204" pitchFamily="49" charset="0"/>
              </a:rPr>
              <a:t>	TODO:</a:t>
            </a:r>
          </a:p>
        </p:txBody>
      </p:sp>
      <p:sp>
        <p:nvSpPr>
          <p:cNvPr id="15" name="TextBox 14">
            <a:extLst>
              <a:ext uri="{FF2B5EF4-FFF2-40B4-BE49-F238E27FC236}">
                <a16:creationId xmlns:a16="http://schemas.microsoft.com/office/drawing/2014/main" id="{04CAB6D9-4161-1C44-BADD-7D1138C6C786}"/>
              </a:ext>
            </a:extLst>
          </p:cNvPr>
          <p:cNvSpPr txBox="1"/>
          <p:nvPr/>
        </p:nvSpPr>
        <p:spPr>
          <a:xfrm>
            <a:off x="4164983" y="773668"/>
            <a:ext cx="3443867" cy="369332"/>
          </a:xfrm>
          <a:prstGeom prst="rect">
            <a:avLst/>
          </a:prstGeom>
          <a:noFill/>
        </p:spPr>
        <p:txBody>
          <a:bodyPr wrap="square" rtlCol="0">
            <a:spAutoFit/>
          </a:bodyPr>
          <a:lstStyle/>
          <a:p>
            <a:r>
              <a:rPr lang="en-US" b="1" dirty="0"/>
              <a:t>Agent Executor</a:t>
            </a:r>
            <a:endParaRPr lang="en-IN" b="1" dirty="0"/>
          </a:p>
        </p:txBody>
      </p:sp>
    </p:spTree>
    <p:extLst>
      <p:ext uri="{BB962C8B-B14F-4D97-AF65-F5344CB8AC3E}">
        <p14:creationId xmlns:p14="http://schemas.microsoft.com/office/powerpoint/2010/main" val="419636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477B399-D9A2-81C3-FE66-74D2C52A253F}"/>
              </a:ext>
            </a:extLst>
          </p:cNvPr>
          <p:cNvSpPr/>
          <p:nvPr/>
        </p:nvSpPr>
        <p:spPr>
          <a:xfrm>
            <a:off x="1505415" y="291790"/>
            <a:ext cx="1839950" cy="1431073"/>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lient</a:t>
            </a:r>
          </a:p>
        </p:txBody>
      </p:sp>
      <p:cxnSp>
        <p:nvCxnSpPr>
          <p:cNvPr id="9" name="Straight Arrow Connector 8">
            <a:extLst>
              <a:ext uri="{FF2B5EF4-FFF2-40B4-BE49-F238E27FC236}">
                <a16:creationId xmlns:a16="http://schemas.microsoft.com/office/drawing/2014/main" id="{23AB897E-77D2-6A48-B157-B3E57190889B}"/>
              </a:ext>
            </a:extLst>
          </p:cNvPr>
          <p:cNvCxnSpPr/>
          <p:nvPr/>
        </p:nvCxnSpPr>
        <p:spPr>
          <a:xfrm>
            <a:off x="2408663" y="1973766"/>
            <a:ext cx="0" cy="1092819"/>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E2D16022-EFBE-47DE-8D86-9E4276C062C2}"/>
              </a:ext>
            </a:extLst>
          </p:cNvPr>
          <p:cNvSpPr txBox="1"/>
          <p:nvPr/>
        </p:nvSpPr>
        <p:spPr>
          <a:xfrm>
            <a:off x="1873405" y="2352907"/>
            <a:ext cx="1126273" cy="367991"/>
          </a:xfrm>
          <a:prstGeom prst="rect">
            <a:avLst/>
          </a:prstGeom>
          <a:noFill/>
        </p:spPr>
        <p:txBody>
          <a:bodyPr wrap="square" rtlCol="0">
            <a:spAutoFit/>
          </a:bodyPr>
          <a:lstStyle/>
          <a:p>
            <a:r>
              <a:rPr lang="en-US" dirty="0"/>
              <a:t>Request</a:t>
            </a:r>
            <a:endParaRPr lang="en-IN" dirty="0"/>
          </a:p>
        </p:txBody>
      </p:sp>
      <p:sp>
        <p:nvSpPr>
          <p:cNvPr id="11" name="Rectangle: Rounded Corners 10">
            <a:extLst>
              <a:ext uri="{FF2B5EF4-FFF2-40B4-BE49-F238E27FC236}">
                <a16:creationId xmlns:a16="http://schemas.microsoft.com/office/drawing/2014/main" id="{77144CB2-601B-14A1-5896-79B0FAC20D08}"/>
              </a:ext>
            </a:extLst>
          </p:cNvPr>
          <p:cNvSpPr/>
          <p:nvPr/>
        </p:nvSpPr>
        <p:spPr>
          <a:xfrm>
            <a:off x="1488688" y="3198542"/>
            <a:ext cx="1839950" cy="1431073"/>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lient Agent</a:t>
            </a:r>
          </a:p>
        </p:txBody>
      </p:sp>
      <p:sp>
        <p:nvSpPr>
          <p:cNvPr id="12" name="TextBox 11">
            <a:extLst>
              <a:ext uri="{FF2B5EF4-FFF2-40B4-BE49-F238E27FC236}">
                <a16:creationId xmlns:a16="http://schemas.microsoft.com/office/drawing/2014/main" id="{C2ADBE6F-1104-FA1F-5853-A3C8341AA4C1}"/>
              </a:ext>
            </a:extLst>
          </p:cNvPr>
          <p:cNvSpPr txBox="1"/>
          <p:nvPr/>
        </p:nvSpPr>
        <p:spPr>
          <a:xfrm>
            <a:off x="3086404" y="2205901"/>
            <a:ext cx="1510990" cy="523220"/>
          </a:xfrm>
          <a:prstGeom prst="rect">
            <a:avLst/>
          </a:prstGeom>
          <a:noFill/>
        </p:spPr>
        <p:txBody>
          <a:bodyPr wrap="square" rtlCol="0">
            <a:spAutoFit/>
          </a:bodyPr>
          <a:lstStyle/>
          <a:p>
            <a:r>
              <a:rPr lang="en-US" sz="1400" dirty="0">
                <a:solidFill>
                  <a:srgbClr val="0070C0"/>
                </a:solidFill>
              </a:rPr>
              <a:t>Get weather for </a:t>
            </a:r>
            <a:r>
              <a:rPr lang="en-US" sz="1400" dirty="0" err="1">
                <a:solidFill>
                  <a:srgbClr val="0070C0"/>
                </a:solidFill>
              </a:rPr>
              <a:t>delhi</a:t>
            </a:r>
            <a:endParaRPr lang="en-IN" sz="1400" dirty="0">
              <a:solidFill>
                <a:srgbClr val="0070C0"/>
              </a:solidFill>
            </a:endParaRPr>
          </a:p>
        </p:txBody>
      </p:sp>
      <p:cxnSp>
        <p:nvCxnSpPr>
          <p:cNvPr id="15" name="Straight Arrow Connector 14">
            <a:extLst>
              <a:ext uri="{FF2B5EF4-FFF2-40B4-BE49-F238E27FC236}">
                <a16:creationId xmlns:a16="http://schemas.microsoft.com/office/drawing/2014/main" id="{00024665-530D-876C-D9D1-89916F942B4E}"/>
              </a:ext>
            </a:extLst>
          </p:cNvPr>
          <p:cNvCxnSpPr>
            <a:cxnSpLocks/>
          </p:cNvCxnSpPr>
          <p:nvPr/>
        </p:nvCxnSpPr>
        <p:spPr>
          <a:xfrm flipV="1">
            <a:off x="3328638" y="3588067"/>
            <a:ext cx="2447694" cy="2626"/>
          </a:xfrm>
          <a:prstGeom prst="straightConnector1">
            <a:avLst/>
          </a:prstGeom>
          <a:ln w="1905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2" name="TextBox 21">
            <a:extLst>
              <a:ext uri="{FF2B5EF4-FFF2-40B4-BE49-F238E27FC236}">
                <a16:creationId xmlns:a16="http://schemas.microsoft.com/office/drawing/2014/main" id="{707DF686-9158-9B6B-5417-1D5D7E55A5A1}"/>
              </a:ext>
            </a:extLst>
          </p:cNvPr>
          <p:cNvSpPr txBox="1"/>
          <p:nvPr/>
        </p:nvSpPr>
        <p:spPr>
          <a:xfrm>
            <a:off x="3672471" y="3244334"/>
            <a:ext cx="1761892" cy="369332"/>
          </a:xfrm>
          <a:prstGeom prst="rect">
            <a:avLst/>
          </a:prstGeom>
          <a:noFill/>
        </p:spPr>
        <p:txBody>
          <a:bodyPr wrap="square" rtlCol="0">
            <a:spAutoFit/>
          </a:bodyPr>
          <a:lstStyle/>
          <a:p>
            <a:r>
              <a:rPr lang="en-US" dirty="0" err="1"/>
              <a:t>agent_card</a:t>
            </a:r>
            <a:endParaRPr lang="en-IN" dirty="0"/>
          </a:p>
        </p:txBody>
      </p:sp>
      <p:sp>
        <p:nvSpPr>
          <p:cNvPr id="26" name="TextBox 25">
            <a:extLst>
              <a:ext uri="{FF2B5EF4-FFF2-40B4-BE49-F238E27FC236}">
                <a16:creationId xmlns:a16="http://schemas.microsoft.com/office/drawing/2014/main" id="{FA671AAD-1F5B-250C-0298-8CC163DDCCE5}"/>
              </a:ext>
            </a:extLst>
          </p:cNvPr>
          <p:cNvSpPr txBox="1"/>
          <p:nvPr/>
        </p:nvSpPr>
        <p:spPr>
          <a:xfrm>
            <a:off x="3672471" y="4140940"/>
            <a:ext cx="1761892" cy="369332"/>
          </a:xfrm>
          <a:prstGeom prst="rect">
            <a:avLst/>
          </a:prstGeom>
          <a:noFill/>
        </p:spPr>
        <p:txBody>
          <a:bodyPr wrap="square" rtlCol="0">
            <a:spAutoFit/>
          </a:bodyPr>
          <a:lstStyle/>
          <a:p>
            <a:pPr algn="ctr"/>
            <a:r>
              <a:rPr lang="en-US" dirty="0"/>
              <a:t>RPC</a:t>
            </a:r>
            <a:endParaRPr lang="en-IN" dirty="0"/>
          </a:p>
        </p:txBody>
      </p:sp>
      <p:sp>
        <p:nvSpPr>
          <p:cNvPr id="27" name="Rectangle: Rounded Corners 26">
            <a:extLst>
              <a:ext uri="{FF2B5EF4-FFF2-40B4-BE49-F238E27FC236}">
                <a16:creationId xmlns:a16="http://schemas.microsoft.com/office/drawing/2014/main" id="{E699B7D0-D6AE-D833-1B2C-27EAB2598EB2}"/>
              </a:ext>
            </a:extLst>
          </p:cNvPr>
          <p:cNvSpPr/>
          <p:nvPr/>
        </p:nvSpPr>
        <p:spPr>
          <a:xfrm>
            <a:off x="6096000" y="2486721"/>
            <a:ext cx="4519955" cy="3123229"/>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cxnSp>
        <p:nvCxnSpPr>
          <p:cNvPr id="30" name="Straight Arrow Connector 29">
            <a:extLst>
              <a:ext uri="{FF2B5EF4-FFF2-40B4-BE49-F238E27FC236}">
                <a16:creationId xmlns:a16="http://schemas.microsoft.com/office/drawing/2014/main" id="{1150D121-7105-38B9-09A6-33B7F4E3ECE0}"/>
              </a:ext>
            </a:extLst>
          </p:cNvPr>
          <p:cNvCxnSpPr/>
          <p:nvPr/>
        </p:nvCxnSpPr>
        <p:spPr>
          <a:xfrm>
            <a:off x="3328638" y="4438185"/>
            <a:ext cx="2447694" cy="0"/>
          </a:xfrm>
          <a:prstGeom prst="straightConnector1">
            <a:avLst/>
          </a:prstGeom>
          <a:ln w="19050" cap="flat" cmpd="sng" algn="ctr">
            <a:solidFill>
              <a:schemeClr val="accent3"/>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1" name="TextBox 30">
            <a:extLst>
              <a:ext uri="{FF2B5EF4-FFF2-40B4-BE49-F238E27FC236}">
                <a16:creationId xmlns:a16="http://schemas.microsoft.com/office/drawing/2014/main" id="{CB43C4B7-A0D3-BCFB-975C-078458B70D0D}"/>
              </a:ext>
            </a:extLst>
          </p:cNvPr>
          <p:cNvSpPr txBox="1"/>
          <p:nvPr/>
        </p:nvSpPr>
        <p:spPr>
          <a:xfrm>
            <a:off x="6601522" y="2689386"/>
            <a:ext cx="3534937" cy="338554"/>
          </a:xfrm>
          <a:prstGeom prst="rect">
            <a:avLst/>
          </a:prstGeom>
          <a:noFill/>
        </p:spPr>
        <p:txBody>
          <a:bodyPr wrap="square" rtlCol="0">
            <a:spAutoFit/>
          </a:bodyPr>
          <a:lstStyle/>
          <a:p>
            <a:pPr algn="ctr"/>
            <a:r>
              <a:rPr lang="en-US" sz="1600" dirty="0">
                <a:solidFill>
                  <a:schemeClr val="accent1">
                    <a:lumMod val="75000"/>
                  </a:schemeClr>
                </a:solidFill>
              </a:rPr>
              <a:t>A2a Starlette Application/Server</a:t>
            </a:r>
            <a:endParaRPr lang="en-IN" sz="1600" dirty="0">
              <a:solidFill>
                <a:schemeClr val="accent1">
                  <a:lumMod val="75000"/>
                </a:schemeClr>
              </a:solidFill>
            </a:endParaRPr>
          </a:p>
        </p:txBody>
      </p:sp>
      <p:sp>
        <p:nvSpPr>
          <p:cNvPr id="33" name="Rectangle: Rounded Corners 32">
            <a:extLst>
              <a:ext uri="{FF2B5EF4-FFF2-40B4-BE49-F238E27FC236}">
                <a16:creationId xmlns:a16="http://schemas.microsoft.com/office/drawing/2014/main" id="{7695A951-D5FD-A986-74EB-98F3C9B2DB8C}"/>
              </a:ext>
            </a:extLst>
          </p:cNvPr>
          <p:cNvSpPr/>
          <p:nvPr/>
        </p:nvSpPr>
        <p:spPr>
          <a:xfrm>
            <a:off x="6248400" y="3066584"/>
            <a:ext cx="4070195" cy="2319455"/>
          </a:xfrm>
          <a:prstGeom prst="round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dirty="0">
              <a:solidFill>
                <a:srgbClr val="00B050"/>
              </a:solidFill>
            </a:endParaRPr>
          </a:p>
        </p:txBody>
      </p:sp>
      <p:sp>
        <p:nvSpPr>
          <p:cNvPr id="35" name="TextBox 34">
            <a:extLst>
              <a:ext uri="{FF2B5EF4-FFF2-40B4-BE49-F238E27FC236}">
                <a16:creationId xmlns:a16="http://schemas.microsoft.com/office/drawing/2014/main" id="{B5F94FE7-9CFF-5EEF-15CB-2B0983F9F618}"/>
              </a:ext>
            </a:extLst>
          </p:cNvPr>
          <p:cNvSpPr txBox="1"/>
          <p:nvPr/>
        </p:nvSpPr>
        <p:spPr>
          <a:xfrm>
            <a:off x="6601522" y="3244334"/>
            <a:ext cx="3534937" cy="338554"/>
          </a:xfrm>
          <a:prstGeom prst="rect">
            <a:avLst/>
          </a:prstGeom>
          <a:noFill/>
        </p:spPr>
        <p:txBody>
          <a:bodyPr wrap="square" rtlCol="0">
            <a:spAutoFit/>
          </a:bodyPr>
          <a:lstStyle/>
          <a:p>
            <a:pPr algn="ctr"/>
            <a:r>
              <a:rPr lang="en-US" sz="1600" dirty="0">
                <a:solidFill>
                  <a:srgbClr val="00B050"/>
                </a:solidFill>
              </a:rPr>
              <a:t>Weather Agent Executor</a:t>
            </a:r>
            <a:endParaRPr lang="en-IN" sz="1600" dirty="0">
              <a:solidFill>
                <a:srgbClr val="00B050"/>
              </a:solidFill>
            </a:endParaRPr>
          </a:p>
        </p:txBody>
      </p:sp>
      <p:sp>
        <p:nvSpPr>
          <p:cNvPr id="36" name="Rectangle: Rounded Corners 35">
            <a:extLst>
              <a:ext uri="{FF2B5EF4-FFF2-40B4-BE49-F238E27FC236}">
                <a16:creationId xmlns:a16="http://schemas.microsoft.com/office/drawing/2014/main" id="{CC8CE3EA-B18F-B2D0-22B7-D4EDD1E38536}"/>
              </a:ext>
            </a:extLst>
          </p:cNvPr>
          <p:cNvSpPr/>
          <p:nvPr/>
        </p:nvSpPr>
        <p:spPr>
          <a:xfrm>
            <a:off x="6400800" y="3621531"/>
            <a:ext cx="3735659" cy="1574937"/>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00B0F0"/>
                </a:solidFill>
              </a:rPr>
              <a:t>Weather Agent</a:t>
            </a:r>
          </a:p>
        </p:txBody>
      </p:sp>
      <p:sp>
        <p:nvSpPr>
          <p:cNvPr id="37" name="Rectangle: Rounded Corners 36">
            <a:extLst>
              <a:ext uri="{FF2B5EF4-FFF2-40B4-BE49-F238E27FC236}">
                <a16:creationId xmlns:a16="http://schemas.microsoft.com/office/drawing/2014/main" id="{8F32A49C-D5C5-9CFD-535C-DE042251CA0C}"/>
              </a:ext>
            </a:extLst>
          </p:cNvPr>
          <p:cNvSpPr/>
          <p:nvPr/>
        </p:nvSpPr>
        <p:spPr>
          <a:xfrm rot="240350">
            <a:off x="3827110" y="4727119"/>
            <a:ext cx="1342507" cy="40011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t>Message</a:t>
            </a:r>
            <a:endParaRPr lang="en-IN" dirty="0"/>
          </a:p>
        </p:txBody>
      </p:sp>
      <p:cxnSp>
        <p:nvCxnSpPr>
          <p:cNvPr id="40" name="Straight Arrow Connector 39">
            <a:extLst>
              <a:ext uri="{FF2B5EF4-FFF2-40B4-BE49-F238E27FC236}">
                <a16:creationId xmlns:a16="http://schemas.microsoft.com/office/drawing/2014/main" id="{320BBD1C-FB18-6F88-EC80-CB3E3F04FDB2}"/>
              </a:ext>
            </a:extLst>
          </p:cNvPr>
          <p:cNvCxnSpPr/>
          <p:nvPr/>
        </p:nvCxnSpPr>
        <p:spPr>
          <a:xfrm>
            <a:off x="3345365" y="4629615"/>
            <a:ext cx="2520176" cy="1988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E38EF4FA-117E-B926-BC11-2A62C3BD81FF}"/>
              </a:ext>
            </a:extLst>
          </p:cNvPr>
          <p:cNvCxnSpPr>
            <a:cxnSpLocks/>
          </p:cNvCxnSpPr>
          <p:nvPr/>
        </p:nvCxnSpPr>
        <p:spPr>
          <a:xfrm rot="10800000">
            <a:off x="2704171" y="4748959"/>
            <a:ext cx="3161372" cy="761293"/>
          </a:xfrm>
          <a:prstGeom prst="bentConnector3">
            <a:avLst>
              <a:gd name="adj1" fmla="val 100088"/>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4C089DFE-1AFF-F9D5-6214-C97B968214DC}"/>
              </a:ext>
            </a:extLst>
          </p:cNvPr>
          <p:cNvSpPr/>
          <p:nvPr/>
        </p:nvSpPr>
        <p:spPr>
          <a:xfrm>
            <a:off x="3378782" y="5532864"/>
            <a:ext cx="1342507" cy="400110"/>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solidFill>
                  <a:srgbClr val="002060"/>
                </a:solidFill>
              </a:rPr>
              <a:t>Message</a:t>
            </a:r>
            <a:endParaRPr lang="en-IN" dirty="0">
              <a:solidFill>
                <a:srgbClr val="002060"/>
              </a:solidFill>
            </a:endParaRPr>
          </a:p>
        </p:txBody>
      </p:sp>
      <p:sp>
        <p:nvSpPr>
          <p:cNvPr id="2" name="Title 1">
            <a:extLst>
              <a:ext uri="{FF2B5EF4-FFF2-40B4-BE49-F238E27FC236}">
                <a16:creationId xmlns:a16="http://schemas.microsoft.com/office/drawing/2014/main" id="{3982A7EF-5ACB-722B-D4E7-2938105E5184}"/>
              </a:ext>
            </a:extLst>
          </p:cNvPr>
          <p:cNvSpPr txBox="1">
            <a:spLocks/>
          </p:cNvSpPr>
          <p:nvPr/>
        </p:nvSpPr>
        <p:spPr bwMode="white">
          <a:xfrm>
            <a:off x="4839629" y="365125"/>
            <a:ext cx="651417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600" dirty="0"/>
              <a:t>Example:</a:t>
            </a:r>
            <a:endParaRPr lang="en-US" sz="3600" dirty="0"/>
          </a:p>
        </p:txBody>
      </p:sp>
    </p:spTree>
    <p:extLst>
      <p:ext uri="{BB962C8B-B14F-4D97-AF65-F5344CB8AC3E}">
        <p14:creationId xmlns:p14="http://schemas.microsoft.com/office/powerpoint/2010/main" val="22384318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ypes of Agent Interactions under A2A</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654518" y="1078029"/>
            <a:ext cx="10915048" cy="49417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C28F2F93-7E6E-153B-19A2-19039885B647}"/>
              </a:ext>
            </a:extLst>
          </p:cNvPr>
          <p:cNvSpPr txBox="1">
            <a:spLocks/>
          </p:cNvSpPr>
          <p:nvPr/>
        </p:nvSpPr>
        <p:spPr>
          <a:xfrm>
            <a:off x="778292" y="1609618"/>
            <a:ext cx="10571998" cy="3638764"/>
          </a:xfrm>
          <a:prstGeom prst="rect">
            <a:avLst/>
          </a:prstGeom>
        </p:spPr>
        <p:txBody>
          <a:bodyPr>
            <a:normAutofit fontScale="92500"/>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lnSpc>
                <a:spcPct val="200000"/>
              </a:lnSpc>
              <a:buFont typeface="Wingdings" panose="05000000000000000000" pitchFamily="2" charset="2"/>
              <a:buChar char="v"/>
            </a:pPr>
            <a:r>
              <a:rPr lang="en-IN" b="1" dirty="0">
                <a:latin typeface="Arial" panose="020B0604020202020204" pitchFamily="34" charset="0"/>
                <a:ea typeface="Tahoma" panose="020B0604030504040204" pitchFamily="34" charset="0"/>
                <a:cs typeface="Arial" panose="020B0604020202020204" pitchFamily="34" charset="0"/>
              </a:rPr>
              <a:t>Task Delegation / Offloading: </a:t>
            </a:r>
            <a:r>
              <a:rPr lang="en-IN" dirty="0">
                <a:latin typeface="Arial" panose="020B0604020202020204" pitchFamily="34" charset="0"/>
                <a:ea typeface="Tahoma" panose="020B0604030504040204" pitchFamily="34" charset="0"/>
                <a:cs typeface="Arial" panose="020B0604020202020204" pitchFamily="34" charset="0"/>
              </a:rPr>
              <a:t>one agent gives a task to another specialized agent.</a:t>
            </a:r>
          </a:p>
          <a:p>
            <a:pPr marL="285750" indent="-285750">
              <a:lnSpc>
                <a:spcPct val="200000"/>
              </a:lnSpc>
              <a:buFont typeface="Wingdings" panose="05000000000000000000" pitchFamily="2" charset="2"/>
              <a:buChar char="v"/>
            </a:pPr>
            <a:r>
              <a:rPr lang="en-IN" b="1" dirty="0">
                <a:latin typeface="Arial" panose="020B0604020202020204" pitchFamily="34" charset="0"/>
                <a:ea typeface="Tahoma" panose="020B0604030504040204" pitchFamily="34" charset="0"/>
                <a:cs typeface="Arial" panose="020B0604020202020204" pitchFamily="34" charset="0"/>
              </a:rPr>
              <a:t>Collaboration / Parallel Processing: </a:t>
            </a:r>
            <a:r>
              <a:rPr lang="en-IN" dirty="0">
                <a:latin typeface="Arial" panose="020B0604020202020204" pitchFamily="34" charset="0"/>
                <a:ea typeface="Tahoma" panose="020B0604030504040204" pitchFamily="34" charset="0"/>
                <a:cs typeface="Arial" panose="020B0604020202020204" pitchFamily="34" charset="0"/>
              </a:rPr>
              <a:t>agents cooperate, each doing parts of a larger job (e.g. data-gathering, analysis, summarization).</a:t>
            </a:r>
          </a:p>
          <a:p>
            <a:pPr marL="285750" indent="-285750">
              <a:lnSpc>
                <a:spcPct val="200000"/>
              </a:lnSpc>
              <a:buFont typeface="Wingdings" panose="05000000000000000000" pitchFamily="2" charset="2"/>
              <a:buChar char="v"/>
            </a:pPr>
            <a:r>
              <a:rPr lang="en-IN" b="1" dirty="0">
                <a:latin typeface="Arial" panose="020B0604020202020204" pitchFamily="34" charset="0"/>
                <a:ea typeface="Tahoma" panose="020B0604030504040204" pitchFamily="34" charset="0"/>
                <a:cs typeface="Arial" panose="020B0604020202020204" pitchFamily="34" charset="0"/>
              </a:rPr>
              <a:t>Negotiation / Coordination: </a:t>
            </a:r>
            <a:r>
              <a:rPr lang="en-IN" dirty="0">
                <a:latin typeface="Arial" panose="020B0604020202020204" pitchFamily="34" charset="0"/>
                <a:ea typeface="Tahoma" panose="020B0604030504040204" pitchFamily="34" charset="0"/>
                <a:cs typeface="Arial" panose="020B0604020202020204" pitchFamily="34" charset="0"/>
              </a:rPr>
              <a:t>agents negotiate which one should do what, manage roles, split tasks intelligently for efficiency.</a:t>
            </a:r>
          </a:p>
          <a:p>
            <a:pPr marL="285750" indent="-285750">
              <a:lnSpc>
                <a:spcPct val="200000"/>
              </a:lnSpc>
              <a:buFont typeface="Wingdings" panose="05000000000000000000" pitchFamily="2" charset="2"/>
              <a:buChar char="v"/>
            </a:pPr>
            <a:r>
              <a:rPr lang="en-IN" b="1" dirty="0">
                <a:latin typeface="Arial" panose="020B0604020202020204" pitchFamily="34" charset="0"/>
                <a:ea typeface="Tahoma" panose="020B0604030504040204" pitchFamily="34" charset="0"/>
                <a:cs typeface="Arial" panose="020B0604020202020204" pitchFamily="34" charset="0"/>
              </a:rPr>
              <a:t>State / Context Sharing:</a:t>
            </a:r>
            <a:r>
              <a:rPr lang="en-IN" dirty="0">
                <a:latin typeface="Arial" panose="020B0604020202020204" pitchFamily="34" charset="0"/>
                <a:ea typeface="Tahoma" panose="020B0604030504040204" pitchFamily="34" charset="0"/>
                <a:cs typeface="Arial" panose="020B0604020202020204" pitchFamily="34" charset="0"/>
              </a:rPr>
              <a:t> agents share intermediate data, context, results, so downstream agents have what they need.</a:t>
            </a:r>
            <a:endParaRPr lang="en-US"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7009989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y A2A Matters: Benefits &amp; Use-Case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360000" y="1388365"/>
            <a:ext cx="11664175" cy="4549697"/>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lnSpc>
                <a:spcPct val="150000"/>
              </a:lnSpc>
              <a:buFont typeface="Wingdings" panose="05000000000000000000" pitchFamily="2" charset="2"/>
              <a:buChar char="Ø"/>
            </a:pPr>
            <a:r>
              <a:rPr lang="en-IN" sz="1600" dirty="0">
                <a:latin typeface="Arial" panose="020B0604020202020204" pitchFamily="34" charset="0"/>
                <a:cs typeface="Arial" panose="020B0604020202020204" pitchFamily="34" charset="0"/>
              </a:rPr>
              <a:t>Enables </a:t>
            </a:r>
            <a:r>
              <a:rPr lang="en-IN" sz="1600" b="1" dirty="0">
                <a:latin typeface="Arial" panose="020B0604020202020204" pitchFamily="34" charset="0"/>
                <a:cs typeface="Arial" panose="020B0604020202020204" pitchFamily="34" charset="0"/>
              </a:rPr>
              <a:t>specialized agents</a:t>
            </a:r>
            <a:r>
              <a:rPr lang="en-IN" sz="1600" dirty="0">
                <a:latin typeface="Arial" panose="020B0604020202020204" pitchFamily="34" charset="0"/>
                <a:cs typeface="Arial" panose="020B0604020202020204" pitchFamily="34" charset="0"/>
              </a:rPr>
              <a:t> (e.g. data-fetch agent, analysis agent, report-generator) to work together → modular &amp; maintainable.</a:t>
            </a:r>
          </a:p>
          <a:p>
            <a:pPr marL="285750" indent="-285750">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Task orchestration</a:t>
            </a:r>
            <a:r>
              <a:rPr lang="en-IN" sz="1600" dirty="0">
                <a:latin typeface="Arial" panose="020B0604020202020204" pitchFamily="34" charset="0"/>
                <a:cs typeface="Arial" panose="020B0604020202020204" pitchFamily="34" charset="0"/>
              </a:rPr>
              <a:t> for complex, multi-step tasks that a single agent can’t handle reliably (e.g. research, automation, multi-domain tasks) </a:t>
            </a:r>
          </a:p>
          <a:p>
            <a:pPr marL="285750" indent="-285750">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Interoperability</a:t>
            </a:r>
            <a:r>
              <a:rPr lang="en-IN" sz="1600" dirty="0">
                <a:latin typeface="Arial" panose="020B0604020202020204" pitchFamily="34" charset="0"/>
                <a:cs typeface="Arial" panose="020B0604020202020204" pitchFamily="34" charset="0"/>
              </a:rPr>
              <a:t>: agents built with different frameworks/languages can still communicate via A2A — no lock-in.</a:t>
            </a:r>
          </a:p>
          <a:p>
            <a:pPr marL="285750" indent="-285750">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Scalability &amp; Flexibility</a:t>
            </a:r>
            <a:r>
              <a:rPr lang="en-IN" sz="1600" dirty="0">
                <a:latin typeface="Arial" panose="020B0604020202020204" pitchFamily="34" charset="0"/>
                <a:cs typeface="Arial" panose="020B0604020202020204" pitchFamily="34" charset="0"/>
              </a:rPr>
              <a:t>: new agents can be added/removed without reworking the whole system — scalable architecture. </a:t>
            </a:r>
          </a:p>
          <a:p>
            <a:pPr marL="285750" indent="-285750">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Privacy: </a:t>
            </a:r>
            <a:r>
              <a:rPr lang="en-IN" sz="1600" dirty="0">
                <a:latin typeface="Arial" panose="020B0604020202020204" pitchFamily="34" charset="0"/>
                <a:cs typeface="Arial" panose="020B0604020202020204" pitchFamily="34" charset="0"/>
              </a:rPr>
              <a:t>The protocol treats agentic AI as opaque agents. So autonomous agents can collaborate without having to reveal their inner workings, such as internal memory, proprietary logic or particular tool implementations. </a:t>
            </a:r>
          </a:p>
          <a:p>
            <a:pPr marL="285750" indent="-285750" fontAlgn="base">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Seamless integration: </a:t>
            </a:r>
            <a:r>
              <a:rPr lang="en-IN" sz="1600" dirty="0">
                <a:latin typeface="Arial" panose="020B0604020202020204" pitchFamily="34" charset="0"/>
                <a:cs typeface="Arial" panose="020B0604020202020204" pitchFamily="34" charset="0"/>
              </a:rPr>
              <a:t>A2A is built on established standards, including HTTP, JSON-RPC and SSE. This makes it easier for enterprises to adopt the protocol and helps ensure compatibility with their current technology stack.</a:t>
            </a:r>
          </a:p>
          <a:p>
            <a:pPr marL="285750" indent="-285750" fontAlgn="base">
              <a:lnSpc>
                <a:spcPct val="150000"/>
              </a:lnSpc>
              <a:buFont typeface="Wingdings" panose="05000000000000000000" pitchFamily="2" charset="2"/>
              <a:buChar char="Ø"/>
            </a:pPr>
            <a:r>
              <a:rPr lang="en-IN" sz="1600" b="1" dirty="0">
                <a:latin typeface="Arial" panose="020B0604020202020204" pitchFamily="34" charset="0"/>
                <a:cs typeface="Arial" panose="020B0604020202020204" pitchFamily="34" charset="0"/>
              </a:rPr>
              <a:t>Security: </a:t>
            </a:r>
            <a:r>
              <a:rPr lang="en-IN" sz="1600" dirty="0">
                <a:latin typeface="Arial" panose="020B0604020202020204" pitchFamily="34" charset="0"/>
                <a:cs typeface="Arial" panose="020B0604020202020204" pitchFamily="34" charset="0"/>
              </a:rPr>
              <a:t>The Agent2Agent protocol is designed with security in mind. It supports enterprise-grade authentication and authorization mechanisms and allows for secure information exchange.</a:t>
            </a:r>
            <a:endParaRPr lang="en-IN"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42675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656930"/>
              <a:ext cx="8174476" cy="4347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MCP (Model Context Protocol)</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3059144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MCP (Model Context Protocol)</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353374" y="2045449"/>
            <a:ext cx="11664175" cy="4549697"/>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buFont typeface="Wingdings" panose="05000000000000000000" pitchFamily="2" charset="2"/>
              <a:buChar char="Ø"/>
            </a:pPr>
            <a:r>
              <a:rPr lang="en-IN" sz="2400" dirty="0"/>
              <a:t>MCP is an open standard protocol introduced by Anthropic in late 2024 that defines a standard way for AI agents/LLMs to access external data, tools, and services. </a:t>
            </a:r>
          </a:p>
          <a:p>
            <a:pPr marL="342900" indent="-342900">
              <a:buFont typeface="Wingdings" panose="05000000000000000000" pitchFamily="2" charset="2"/>
              <a:buChar char="Ø"/>
            </a:pPr>
            <a:endParaRPr lang="en-IN" sz="2400" dirty="0"/>
          </a:p>
          <a:p>
            <a:pPr marL="342900" indent="-342900">
              <a:buFont typeface="Wingdings" panose="05000000000000000000" pitchFamily="2" charset="2"/>
              <a:buChar char="Ø"/>
            </a:pPr>
            <a:r>
              <a:rPr lang="en-IN" sz="2400" dirty="0"/>
              <a:t>It acts like a universal “</a:t>
            </a:r>
            <a:r>
              <a:rPr lang="en-IN" sz="2400" b="1" dirty="0"/>
              <a:t>connector</a:t>
            </a:r>
            <a:r>
              <a:rPr lang="en-IN" sz="2400" dirty="0"/>
              <a:t>” (some call it “</a:t>
            </a:r>
            <a:r>
              <a:rPr lang="en-IN" sz="2400" b="1" dirty="0"/>
              <a:t>USB-C for AI</a:t>
            </a:r>
            <a:r>
              <a:rPr lang="en-IN" sz="2400" dirty="0"/>
              <a:t>”) to plug models into any data source or tool, irrespective of tool or model provider.</a:t>
            </a:r>
          </a:p>
          <a:p>
            <a:pPr marL="342900" indent="-342900">
              <a:buFont typeface="Wingdings" panose="05000000000000000000" pitchFamily="2" charset="2"/>
              <a:buChar char="Ø"/>
            </a:pPr>
            <a:endParaRPr lang="en-IN" sz="2400" dirty="0"/>
          </a:p>
          <a:p>
            <a:pPr marL="342900" indent="-342900">
              <a:buFont typeface="Wingdings" panose="05000000000000000000" pitchFamily="2" charset="2"/>
              <a:buChar char="Ø"/>
            </a:pPr>
            <a:r>
              <a:rPr lang="en-IN" sz="2400" dirty="0"/>
              <a:t>MCP uses a </a:t>
            </a:r>
            <a:r>
              <a:rPr lang="en-IN" sz="2400" b="1" dirty="0"/>
              <a:t>client–server</a:t>
            </a:r>
            <a:r>
              <a:rPr lang="en-IN" sz="2400" dirty="0"/>
              <a:t> architecture: the agent (MCP client) sends requests to an MCP server which exposes tools, APIs, data sources, or context resources.</a:t>
            </a:r>
            <a:endParaRPr lang="en-US" sz="24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200952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 of MCP (With and withou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383191" y="1911239"/>
            <a:ext cx="11664175" cy="4549697"/>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buNone/>
            </a:pPr>
            <a:r>
              <a:rPr lang="en-IN" sz="2000" b="1" dirty="0">
                <a:latin typeface="Arial" panose="020B0604020202020204" pitchFamily="34" charset="0"/>
                <a:cs typeface="Arial" panose="020B0604020202020204" pitchFamily="34" charset="0"/>
              </a:rPr>
              <a:t>Use Case: GST Compliance &amp; Financial Reconciliation System</a:t>
            </a:r>
          </a:p>
          <a:p>
            <a:pPr>
              <a:buNone/>
            </a:pPr>
            <a:r>
              <a:rPr lang="en-IN" sz="2000" dirty="0">
                <a:latin typeface="Arial" panose="020B0604020202020204" pitchFamily="34" charset="0"/>
                <a:cs typeface="Arial" panose="020B0604020202020204" pitchFamily="34" charset="0"/>
              </a:rPr>
              <a:t>Imagine a finance department where several agents handle tax calculations, invoicing, reconciliation and reporting. They’re meant to dance together, but without MCP they keep stepping on each other’s toes.</a:t>
            </a:r>
            <a:br>
              <a:rPr lang="en-IN" sz="2000" dirty="0">
                <a:latin typeface="Arial" panose="020B0604020202020204" pitchFamily="34" charset="0"/>
                <a:cs typeface="Arial" panose="020B0604020202020204" pitchFamily="34" charset="0"/>
              </a:rPr>
            </a:br>
            <a:endParaRPr lang="en-IN" sz="2000" dirty="0">
              <a:latin typeface="Arial" panose="020B0604020202020204" pitchFamily="34" charset="0"/>
              <a:cs typeface="Arial" panose="020B0604020202020204" pitchFamily="34" charset="0"/>
            </a:endParaRPr>
          </a:p>
          <a:p>
            <a:pPr>
              <a:buNone/>
            </a:pPr>
            <a:r>
              <a:rPr lang="en-IN" sz="2000" b="1" dirty="0">
                <a:latin typeface="Arial" panose="020B0604020202020204" pitchFamily="34" charset="0"/>
                <a:cs typeface="Arial" panose="020B0604020202020204" pitchFamily="34" charset="0"/>
              </a:rPr>
              <a:t>Problem Scenario (Without MCP)</a:t>
            </a:r>
          </a:p>
          <a:p>
            <a:pPr>
              <a:buNone/>
            </a:pPr>
            <a:r>
              <a:rPr lang="en-IN" sz="2000" dirty="0">
                <a:latin typeface="Arial" panose="020B0604020202020204" pitchFamily="34" charset="0"/>
                <a:cs typeface="Arial" panose="020B0604020202020204" pitchFamily="34" charset="0"/>
              </a:rPr>
              <a:t>A company has an internal multi-agent workflow:</a:t>
            </a:r>
          </a:p>
          <a:p>
            <a:pPr>
              <a:buFont typeface="+mj-lt"/>
              <a:buAutoNum type="arabicPeriod"/>
            </a:pPr>
            <a:r>
              <a:rPr lang="en-IN" sz="2000" b="1" dirty="0">
                <a:latin typeface="Arial" panose="020B0604020202020204" pitchFamily="34" charset="0"/>
                <a:cs typeface="Arial" panose="020B0604020202020204" pitchFamily="34" charset="0"/>
              </a:rPr>
              <a:t>Agent A: Reads invoices (PDF, CSV, ERP exports)</a:t>
            </a:r>
            <a:endParaRPr lang="en-IN" sz="2000" dirty="0">
              <a:latin typeface="Arial" panose="020B0604020202020204" pitchFamily="34" charset="0"/>
              <a:cs typeface="Arial" panose="020B0604020202020204" pitchFamily="34" charset="0"/>
            </a:endParaRPr>
          </a:p>
          <a:p>
            <a:pPr>
              <a:buFont typeface="+mj-lt"/>
              <a:buAutoNum type="arabicPeriod"/>
            </a:pPr>
            <a:r>
              <a:rPr lang="en-IN" sz="2000" b="1" dirty="0">
                <a:latin typeface="Arial" panose="020B0604020202020204" pitchFamily="34" charset="0"/>
                <a:cs typeface="Arial" panose="020B0604020202020204" pitchFamily="34" charset="0"/>
              </a:rPr>
              <a:t>Agent B: Computes GST based on HSN/SAC codes</a:t>
            </a:r>
            <a:endParaRPr lang="en-IN" sz="2000" dirty="0">
              <a:latin typeface="Arial" panose="020B0604020202020204" pitchFamily="34" charset="0"/>
              <a:cs typeface="Arial" panose="020B0604020202020204" pitchFamily="34" charset="0"/>
            </a:endParaRPr>
          </a:p>
          <a:p>
            <a:pPr>
              <a:buFont typeface="+mj-lt"/>
              <a:buAutoNum type="arabicPeriod"/>
            </a:pPr>
            <a:r>
              <a:rPr lang="en-IN" sz="2000" b="1" dirty="0">
                <a:latin typeface="Arial" panose="020B0604020202020204" pitchFamily="34" charset="0"/>
                <a:cs typeface="Arial" panose="020B0604020202020204" pitchFamily="34" charset="0"/>
              </a:rPr>
              <a:t>Agent C: Reconciles books with GSTR-2A/2B data</a:t>
            </a:r>
            <a:endParaRPr lang="en-IN" sz="2000" dirty="0">
              <a:latin typeface="Arial" panose="020B0604020202020204" pitchFamily="34" charset="0"/>
              <a:cs typeface="Arial" panose="020B0604020202020204" pitchFamily="34" charset="0"/>
            </a:endParaRPr>
          </a:p>
          <a:p>
            <a:pPr>
              <a:buFont typeface="+mj-lt"/>
              <a:buAutoNum type="arabicPeriod"/>
            </a:pPr>
            <a:r>
              <a:rPr lang="en-IN" sz="2000" b="1" dirty="0">
                <a:latin typeface="Arial" panose="020B0604020202020204" pitchFamily="34" charset="0"/>
                <a:cs typeface="Arial" panose="020B0604020202020204" pitchFamily="34" charset="0"/>
              </a:rPr>
              <a:t>Agent D: Generates compliance reports</a:t>
            </a: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8047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genda - Day1</a:t>
            </a:r>
            <a:endParaRPr kumimoji="0" lang="en-IN"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Diagonal Corners Snipped 1">
            <a:extLst>
              <a:ext uri="{FF2B5EF4-FFF2-40B4-BE49-F238E27FC236}">
                <a16:creationId xmlns:a16="http://schemas.microsoft.com/office/drawing/2014/main" id="{419C311C-DA3A-17B6-E0D0-E1F6B2D2CDAF}"/>
              </a:ext>
            </a:extLst>
          </p:cNvPr>
          <p:cNvSpPr/>
          <p:nvPr/>
        </p:nvSpPr>
        <p:spPr>
          <a:xfrm>
            <a:off x="654518" y="1078029"/>
            <a:ext cx="10915048" cy="5072514"/>
          </a:xfrm>
          <a:prstGeom prst="snip2Diag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C90DB39-858C-8859-8E89-2F0B87213C51}"/>
              </a:ext>
            </a:extLst>
          </p:cNvPr>
          <p:cNvSpPr txBox="1"/>
          <p:nvPr/>
        </p:nvSpPr>
        <p:spPr>
          <a:xfrm>
            <a:off x="833694" y="1545001"/>
            <a:ext cx="8855055" cy="2459071"/>
          </a:xfrm>
          <a:prstGeom prst="rect">
            <a:avLst/>
          </a:prstGeom>
          <a:noFill/>
        </p:spPr>
        <p:txBody>
          <a:bodyPr wrap="square" rtlCol="0">
            <a:spAutoFit/>
          </a:bodyPr>
          <a:lstStyle/>
          <a:p>
            <a:pPr marL="342900" marR="0" lvl="0" indent="-34290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lang="en-US" sz="2000" kern="1200" dirty="0">
                <a:solidFill>
                  <a:prstClr val="black"/>
                </a:solidFill>
                <a:latin typeface="Arial" panose="020B0604020202020204" pitchFamily="34" charset="0"/>
                <a:ea typeface="+mn-ea"/>
                <a:cs typeface="Arial" panose="020B0604020202020204" pitchFamily="34" charset="0"/>
              </a:rPr>
              <a:t>Limitation of GenAI</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gentic AI foundation</a:t>
            </a:r>
          </a:p>
          <a:p>
            <a:pPr marL="342900" marR="0" lvl="0" indent="-34290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roduction to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ngchain</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lang="en-US" sz="2000" kern="1200" dirty="0">
                <a:solidFill>
                  <a:prstClr val="black"/>
                </a:solidFill>
                <a:latin typeface="Arial" panose="020B0604020202020204" pitchFamily="34" charset="0"/>
                <a:ea typeface="+mn-ea"/>
                <a:cs typeface="Arial" panose="020B0604020202020204" pitchFamily="34" charset="0"/>
              </a:rPr>
              <a:t>Build Agent with </a:t>
            </a:r>
            <a:r>
              <a:rPr lang="en-US" sz="2000" kern="1200" dirty="0" err="1">
                <a:solidFill>
                  <a:prstClr val="black"/>
                </a:solidFill>
                <a:latin typeface="Arial" panose="020B0604020202020204" pitchFamily="34" charset="0"/>
                <a:ea typeface="+mn-ea"/>
                <a:cs typeface="Arial" panose="020B0604020202020204" pitchFamily="34" charset="0"/>
              </a:rPr>
              <a:t>Langchain</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8365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 of MCP (With and withou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457200" y="1951833"/>
            <a:ext cx="10516360" cy="3422761"/>
          </a:xfrm>
          <a:prstGeom prst="rect">
            <a:avLst/>
          </a:prstGeom>
        </p:spPr>
        <p:txBody>
          <a:bodyPr>
            <a:normAutofit fontScale="92500" lnSpcReduction="10000"/>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buNone/>
            </a:pPr>
            <a:r>
              <a:rPr lang="en-IN" sz="2400" b="1" dirty="0">
                <a:latin typeface="Arial" panose="020B0604020202020204" pitchFamily="34" charset="0"/>
                <a:cs typeface="Arial" panose="020B0604020202020204" pitchFamily="34" charset="0"/>
              </a:rPr>
              <a:t>Where things break WITHOUT MCP</a:t>
            </a:r>
          </a:p>
          <a:p>
            <a:pPr>
              <a:buNone/>
            </a:pPr>
            <a:endParaRPr lang="en-IN" sz="2400" b="1" dirty="0">
              <a:latin typeface="Arial" panose="020B0604020202020204" pitchFamily="34" charset="0"/>
              <a:cs typeface="Arial" panose="020B0604020202020204" pitchFamily="34" charset="0"/>
            </a:endParaRPr>
          </a:p>
          <a:p>
            <a:pPr>
              <a:buNone/>
            </a:pPr>
            <a:r>
              <a:rPr lang="en-IN" sz="2400" b="1" dirty="0">
                <a:latin typeface="Arial" panose="020B0604020202020204" pitchFamily="34" charset="0"/>
                <a:cs typeface="Arial" panose="020B0604020202020204" pitchFamily="34" charset="0"/>
              </a:rPr>
              <a:t>1. No standard interface for tax tools</a:t>
            </a:r>
          </a:p>
          <a:p>
            <a:pPr>
              <a:buNone/>
            </a:pPr>
            <a:r>
              <a:rPr lang="en-IN" sz="2400" dirty="0">
                <a:latin typeface="Arial" panose="020B0604020202020204" pitchFamily="34" charset="0"/>
                <a:cs typeface="Arial" panose="020B0604020202020204" pitchFamily="34" charset="0"/>
              </a:rPr>
              <a:t>Every agent uses its own style to call calculators or lookups:</a:t>
            </a:r>
          </a:p>
          <a:p>
            <a:pPr>
              <a:buFont typeface="Arial" panose="020B0604020202020204" pitchFamily="34" charset="0"/>
              <a:buChar char="•"/>
            </a:pPr>
            <a:r>
              <a:rPr lang="en-IN" sz="2400" dirty="0">
                <a:latin typeface="Arial" panose="020B0604020202020204" pitchFamily="34" charset="0"/>
                <a:cs typeface="Arial" panose="020B0604020202020204" pitchFamily="34" charset="0"/>
              </a:rPr>
              <a:t>Agent B expects HSN codes like "0401"</a:t>
            </a:r>
          </a:p>
          <a:p>
            <a:pPr>
              <a:buFont typeface="Arial" panose="020B0604020202020204" pitchFamily="34" charset="0"/>
              <a:buChar char="•"/>
            </a:pPr>
            <a:r>
              <a:rPr lang="en-IN" sz="2400" dirty="0">
                <a:latin typeface="Arial" panose="020B0604020202020204" pitchFamily="34" charset="0"/>
                <a:cs typeface="Arial" panose="020B0604020202020204" pitchFamily="34" charset="0"/>
              </a:rPr>
              <a:t>Agent C expects "4-digit-HSN"</a:t>
            </a:r>
          </a:p>
          <a:p>
            <a:pPr>
              <a:buFont typeface="Arial" panose="020B0604020202020204" pitchFamily="34" charset="0"/>
              <a:buChar char="•"/>
            </a:pPr>
            <a:r>
              <a:rPr lang="en-IN" sz="2400" dirty="0">
                <a:latin typeface="Arial" panose="020B0604020202020204" pitchFamily="34" charset="0"/>
                <a:cs typeface="Arial" panose="020B0604020202020204" pitchFamily="34" charset="0"/>
              </a:rPr>
              <a:t>Agent A extracts "HSN: 0401 Milk“</a:t>
            </a:r>
          </a:p>
          <a:p>
            <a:pPr>
              <a:buFont typeface="Arial" panose="020B0604020202020204" pitchFamily="34" charset="0"/>
              <a:buChar char="•"/>
            </a:pPr>
            <a:endParaRPr lang="en-IN" sz="2400" dirty="0">
              <a:latin typeface="Arial" panose="020B0604020202020204" pitchFamily="34" charset="0"/>
              <a:cs typeface="Arial" panose="020B0604020202020204" pitchFamily="34" charset="0"/>
            </a:endParaRPr>
          </a:p>
          <a:p>
            <a:r>
              <a:rPr lang="en-IN" sz="2400" dirty="0">
                <a:latin typeface="Arial" panose="020B0604020202020204" pitchFamily="34" charset="0"/>
                <a:cs typeface="Arial" panose="020B0604020202020204" pitchFamily="34" charset="0"/>
              </a:rPr>
              <a:t>GST rate APIs return inconsistent structures.</a:t>
            </a:r>
            <a:br>
              <a:rPr lang="en-IN" sz="2400" dirty="0">
                <a:latin typeface="Arial" panose="020B0604020202020204" pitchFamily="34" charset="0"/>
                <a:cs typeface="Arial" panose="020B0604020202020204" pitchFamily="34" charset="0"/>
              </a:rPr>
            </a:br>
            <a:r>
              <a:rPr lang="en-IN" sz="2400" dirty="0">
                <a:latin typeface="Arial" panose="020B0604020202020204" pitchFamily="34" charset="0"/>
                <a:cs typeface="Arial" panose="020B0604020202020204" pitchFamily="34" charset="0"/>
              </a:rPr>
              <a:t>One uses "</a:t>
            </a:r>
            <a:r>
              <a:rPr lang="en-IN" sz="2400" dirty="0" err="1">
                <a:latin typeface="Arial" panose="020B0604020202020204" pitchFamily="34" charset="0"/>
                <a:cs typeface="Arial" panose="020B0604020202020204" pitchFamily="34" charset="0"/>
              </a:rPr>
              <a:t>gstRate</a:t>
            </a:r>
            <a:r>
              <a:rPr lang="en-IN" sz="2400" dirty="0">
                <a:latin typeface="Arial" panose="020B0604020202020204" pitchFamily="34" charset="0"/>
                <a:cs typeface="Arial" panose="020B0604020202020204" pitchFamily="34" charset="0"/>
              </a:rPr>
              <a:t>", another uses "rate".</a:t>
            </a:r>
          </a:p>
        </p:txBody>
      </p:sp>
    </p:spTree>
    <p:extLst>
      <p:ext uri="{BB962C8B-B14F-4D97-AF65-F5344CB8AC3E}">
        <p14:creationId xmlns:p14="http://schemas.microsoft.com/office/powerpoint/2010/main" val="17064117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 of MCP (With and withou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457200" y="1717619"/>
            <a:ext cx="10516360" cy="3422761"/>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buNone/>
            </a:pPr>
            <a:r>
              <a:rPr lang="en-IN" sz="2400" b="1" dirty="0">
                <a:latin typeface="Arial" panose="020B0604020202020204" pitchFamily="34" charset="0"/>
                <a:cs typeface="Arial" panose="020B0604020202020204" pitchFamily="34" charset="0"/>
              </a:rPr>
              <a:t>Reconciliation agent cannot discover data sources</a:t>
            </a:r>
          </a:p>
          <a:p>
            <a:pPr>
              <a:buNone/>
            </a:pPr>
            <a:endParaRPr lang="en-IN" sz="2400" b="1" dirty="0">
              <a:latin typeface="Arial" panose="020B0604020202020204" pitchFamily="34" charset="0"/>
              <a:cs typeface="Arial" panose="020B0604020202020204" pitchFamily="34" charset="0"/>
            </a:endParaRPr>
          </a:p>
          <a:p>
            <a:pPr>
              <a:buNone/>
            </a:pPr>
            <a:r>
              <a:rPr lang="en-IN" sz="2400" dirty="0">
                <a:latin typeface="Arial" panose="020B0604020202020204" pitchFamily="34" charset="0"/>
                <a:cs typeface="Arial" panose="020B0604020202020204" pitchFamily="34" charset="0"/>
              </a:rPr>
              <a:t>Agent C needs:</a:t>
            </a:r>
          </a:p>
          <a:p>
            <a:pPr>
              <a:buNone/>
            </a:pPr>
            <a:endParaRPr lang="en-IN" sz="24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400" dirty="0">
                <a:latin typeface="Arial" panose="020B0604020202020204" pitchFamily="34" charset="0"/>
                <a:cs typeface="Arial" panose="020B0604020202020204" pitchFamily="34" charset="0"/>
              </a:rPr>
              <a:t>Vendor invoices</a:t>
            </a:r>
          </a:p>
          <a:p>
            <a:pPr marL="342900" indent="-342900">
              <a:buFont typeface="Wingdings" panose="05000000000000000000" pitchFamily="2" charset="2"/>
              <a:buChar char="Ø"/>
            </a:pPr>
            <a:r>
              <a:rPr lang="en-IN" sz="2400" dirty="0">
                <a:latin typeface="Arial" panose="020B0604020202020204" pitchFamily="34" charset="0"/>
                <a:cs typeface="Arial" panose="020B0604020202020204" pitchFamily="34" charset="0"/>
              </a:rPr>
              <a:t>GSTR-2A summary</a:t>
            </a:r>
          </a:p>
          <a:p>
            <a:pPr marL="342900" indent="-342900">
              <a:buFont typeface="Wingdings" panose="05000000000000000000" pitchFamily="2" charset="2"/>
              <a:buChar char="Ø"/>
            </a:pPr>
            <a:r>
              <a:rPr lang="en-IN" sz="2400" dirty="0">
                <a:latin typeface="Arial" panose="020B0604020202020204" pitchFamily="34" charset="0"/>
                <a:cs typeface="Arial" panose="020B0604020202020204" pitchFamily="34" charset="0"/>
              </a:rPr>
              <a:t>ITC eligibility rules</a:t>
            </a:r>
          </a:p>
          <a:p>
            <a:pPr marL="342900" indent="-342900">
              <a:buFont typeface="Wingdings" panose="05000000000000000000" pitchFamily="2" charset="2"/>
              <a:buChar char="Ø"/>
            </a:pPr>
            <a:endParaRPr lang="en-IN" sz="2400" dirty="0">
              <a:latin typeface="Arial" panose="020B0604020202020204" pitchFamily="34" charset="0"/>
              <a:cs typeface="Arial" panose="020B0604020202020204" pitchFamily="34" charset="0"/>
            </a:endParaRPr>
          </a:p>
          <a:p>
            <a:pPr>
              <a:buNone/>
            </a:pPr>
            <a:r>
              <a:rPr lang="en-IN" sz="2400" dirty="0">
                <a:latin typeface="Arial" panose="020B0604020202020204" pitchFamily="34" charset="0"/>
                <a:cs typeface="Arial" panose="020B0604020202020204" pitchFamily="34" charset="0"/>
              </a:rPr>
              <a:t>Without MCP, these “tools” are hidden behind custom wrappers.</a:t>
            </a:r>
          </a:p>
        </p:txBody>
      </p:sp>
    </p:spTree>
    <p:extLst>
      <p:ext uri="{BB962C8B-B14F-4D97-AF65-F5344CB8AC3E}">
        <p14:creationId xmlns:p14="http://schemas.microsoft.com/office/powerpoint/2010/main" val="361133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 Case of MCP (With and without)</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383191" y="1951833"/>
            <a:ext cx="10516360" cy="3422761"/>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buNone/>
            </a:pPr>
            <a:r>
              <a:rPr lang="en-IN" sz="2400" b="1" dirty="0">
                <a:latin typeface="Arial" panose="020B0604020202020204" pitchFamily="34" charset="0"/>
                <a:cs typeface="Arial" panose="020B0604020202020204" pitchFamily="34" charset="0"/>
              </a:rPr>
              <a:t>Tight coupling makes updates dangerous</a:t>
            </a:r>
          </a:p>
          <a:p>
            <a:pPr>
              <a:buNone/>
            </a:pPr>
            <a:endParaRPr lang="en-IN" sz="2400" b="1" dirty="0">
              <a:latin typeface="Arial" panose="020B0604020202020204" pitchFamily="34" charset="0"/>
              <a:cs typeface="Arial" panose="020B0604020202020204" pitchFamily="34" charset="0"/>
            </a:endParaRPr>
          </a:p>
          <a:p>
            <a:pPr>
              <a:buNone/>
            </a:pPr>
            <a:endParaRPr lang="en-IN" sz="2400" b="1" dirty="0">
              <a:latin typeface="Arial" panose="020B0604020202020204" pitchFamily="34" charset="0"/>
              <a:cs typeface="Arial" panose="020B0604020202020204" pitchFamily="34" charset="0"/>
            </a:endParaRPr>
          </a:p>
          <a:p>
            <a:pPr>
              <a:buNone/>
            </a:pPr>
            <a:r>
              <a:rPr lang="en-IN" sz="2400" dirty="0">
                <a:latin typeface="Arial" panose="020B0604020202020204" pitchFamily="34" charset="0"/>
                <a:cs typeface="Arial" panose="020B0604020202020204" pitchFamily="34" charset="0"/>
              </a:rPr>
              <a:t>If GST rates change (which they do), every agent must be updated.</a:t>
            </a:r>
            <a:br>
              <a:rPr lang="en-IN" sz="2400" dirty="0">
                <a:latin typeface="Arial" panose="020B0604020202020204" pitchFamily="34" charset="0"/>
                <a:cs typeface="Arial" panose="020B0604020202020204" pitchFamily="34" charset="0"/>
              </a:rPr>
            </a:br>
            <a:r>
              <a:rPr lang="en-IN" sz="2400" dirty="0">
                <a:latin typeface="Arial" panose="020B0604020202020204" pitchFamily="34" charset="0"/>
                <a:cs typeface="Arial" panose="020B0604020202020204" pitchFamily="34" charset="0"/>
              </a:rPr>
              <a:t>Touch one file, three others break.</a:t>
            </a:r>
            <a:br>
              <a:rPr lang="en-IN" sz="2400" dirty="0">
                <a:latin typeface="Arial" panose="020B0604020202020204" pitchFamily="34" charset="0"/>
                <a:cs typeface="Arial" panose="020B0604020202020204" pitchFamily="34" charset="0"/>
              </a:rPr>
            </a:br>
            <a:r>
              <a:rPr lang="en-IN" sz="2400" dirty="0">
                <a:latin typeface="Arial" panose="020B0604020202020204" pitchFamily="34" charset="0"/>
                <a:cs typeface="Arial" panose="020B0604020202020204" pitchFamily="34" charset="0"/>
              </a:rPr>
              <a:t>Touch three, everything breaks.</a:t>
            </a:r>
          </a:p>
        </p:txBody>
      </p:sp>
    </p:spTree>
    <p:extLst>
      <p:ext uri="{BB962C8B-B14F-4D97-AF65-F5344CB8AC3E}">
        <p14:creationId xmlns:p14="http://schemas.microsoft.com/office/powerpoint/2010/main" val="35860811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Solves the Probl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BC19E291-D38A-7666-4949-87739D353EE8}"/>
              </a:ext>
            </a:extLst>
          </p:cNvPr>
          <p:cNvSpPr txBox="1">
            <a:spLocks/>
          </p:cNvSpPr>
          <p:nvPr/>
        </p:nvSpPr>
        <p:spPr>
          <a:xfrm>
            <a:off x="608560" y="2209800"/>
            <a:ext cx="10516360" cy="2696367"/>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buNone/>
            </a:pPr>
            <a:r>
              <a:rPr lang="en-IN" sz="2400" dirty="0">
                <a:latin typeface="Arial" panose="020B0604020202020204" pitchFamily="34" charset="0"/>
                <a:cs typeface="Arial" panose="020B0604020202020204" pitchFamily="34" charset="0"/>
              </a:rPr>
              <a:t>MCP forces every tax-related tool to describe:</a:t>
            </a:r>
          </a:p>
          <a:p>
            <a:pPr marL="571500" indent="-571500">
              <a:lnSpc>
                <a:spcPct val="150000"/>
              </a:lnSpc>
              <a:buFont typeface="Wingdings" panose="05000000000000000000" pitchFamily="2" charset="2"/>
              <a:buChar char="Ø"/>
            </a:pPr>
            <a:r>
              <a:rPr lang="en-IN" sz="2400" dirty="0">
                <a:latin typeface="Arial" panose="020B0604020202020204" pitchFamily="34" charset="0"/>
                <a:cs typeface="Arial" panose="020B0604020202020204" pitchFamily="34" charset="0"/>
              </a:rPr>
              <a:t>Input fields</a:t>
            </a:r>
          </a:p>
          <a:p>
            <a:pPr marL="571500" indent="-571500">
              <a:lnSpc>
                <a:spcPct val="150000"/>
              </a:lnSpc>
              <a:buFont typeface="Wingdings" panose="05000000000000000000" pitchFamily="2" charset="2"/>
              <a:buChar char="Ø"/>
            </a:pPr>
            <a:r>
              <a:rPr lang="en-IN" sz="2400" dirty="0">
                <a:latin typeface="Arial" panose="020B0604020202020204" pitchFamily="34" charset="0"/>
                <a:cs typeface="Arial" panose="020B0604020202020204" pitchFamily="34" charset="0"/>
              </a:rPr>
              <a:t>Output fields</a:t>
            </a:r>
          </a:p>
          <a:p>
            <a:pPr marL="571500" indent="-571500">
              <a:lnSpc>
                <a:spcPct val="150000"/>
              </a:lnSpc>
              <a:buFont typeface="Wingdings" panose="05000000000000000000" pitchFamily="2" charset="2"/>
              <a:buChar char="Ø"/>
            </a:pPr>
            <a:r>
              <a:rPr lang="en-IN" sz="2400" dirty="0">
                <a:latin typeface="Arial" panose="020B0604020202020204" pitchFamily="34" charset="0"/>
                <a:cs typeface="Arial" panose="020B0604020202020204" pitchFamily="34" charset="0"/>
              </a:rPr>
              <a:t>Data types</a:t>
            </a:r>
          </a:p>
          <a:p>
            <a:pPr marL="571500" indent="-571500">
              <a:lnSpc>
                <a:spcPct val="150000"/>
              </a:lnSpc>
              <a:buFont typeface="Wingdings" panose="05000000000000000000" pitchFamily="2" charset="2"/>
              <a:buChar char="Ø"/>
            </a:pPr>
            <a:r>
              <a:rPr lang="en-IN" sz="2400" dirty="0">
                <a:latin typeface="Arial" panose="020B0604020202020204" pitchFamily="34" charset="0"/>
                <a:cs typeface="Arial" panose="020B0604020202020204" pitchFamily="34" charset="0"/>
              </a:rPr>
              <a:t>Validation schema</a:t>
            </a:r>
          </a:p>
        </p:txBody>
      </p:sp>
    </p:spTree>
    <p:extLst>
      <p:ext uri="{BB962C8B-B14F-4D97-AF65-F5344CB8AC3E}">
        <p14:creationId xmlns:p14="http://schemas.microsoft.com/office/powerpoint/2010/main" val="8982970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Solves the Probl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3080A2B-1191-6E12-58FD-BF37AF58811F}"/>
              </a:ext>
            </a:extLst>
          </p:cNvPr>
          <p:cNvSpPr txBox="1"/>
          <p:nvPr/>
        </p:nvSpPr>
        <p:spPr>
          <a:xfrm>
            <a:off x="762000" y="1600200"/>
            <a:ext cx="8229600" cy="4401205"/>
          </a:xfrm>
          <a:prstGeom prst="rect">
            <a:avLst/>
          </a:prstGeom>
          <a:noFill/>
        </p:spPr>
        <p:txBody>
          <a:bodyPr wrap="square">
            <a:spAutoFit/>
          </a:bodyPr>
          <a:lstStyle/>
          <a:p>
            <a:pPr>
              <a:buNone/>
            </a:pPr>
            <a:r>
              <a:rPr lang="en-IN" sz="2000" b="1" dirty="0">
                <a:latin typeface="Arial" panose="020B0604020202020204" pitchFamily="34" charset="0"/>
                <a:cs typeface="Arial" panose="020B0604020202020204" pitchFamily="34" charset="0"/>
              </a:rPr>
              <a:t>Dynamic discovery of tax tools</a:t>
            </a:r>
          </a:p>
          <a:p>
            <a:pPr>
              <a:buNone/>
            </a:pPr>
            <a:endParaRPr lang="en-IN" sz="2000" b="1" dirty="0">
              <a:latin typeface="Arial" panose="020B0604020202020204" pitchFamily="34" charset="0"/>
              <a:cs typeface="Arial" panose="020B0604020202020204" pitchFamily="34" charset="0"/>
            </a:endParaRPr>
          </a:p>
          <a:p>
            <a:pPr>
              <a:buNone/>
            </a:pPr>
            <a:r>
              <a:rPr lang="en-IN" sz="2000" dirty="0">
                <a:latin typeface="Arial" panose="020B0604020202020204" pitchFamily="34" charset="0"/>
                <a:cs typeface="Arial" panose="020B0604020202020204" pitchFamily="34" charset="0"/>
              </a:rPr>
              <a:t>Agents ask MCP:</a:t>
            </a:r>
          </a:p>
          <a:p>
            <a:pPr>
              <a:buNone/>
            </a:pPr>
            <a:endParaRPr lang="en-IN" sz="2000" dirty="0">
              <a:latin typeface="Arial" panose="020B0604020202020204" pitchFamily="34" charset="0"/>
              <a:cs typeface="Arial" panose="020B0604020202020204" pitchFamily="34" charset="0"/>
            </a:endParaRPr>
          </a:p>
          <a:p>
            <a:pPr>
              <a:buNone/>
            </a:pPr>
            <a:r>
              <a:rPr lang="en-IN" sz="2000" i="1" dirty="0">
                <a:latin typeface="Arial" panose="020B0604020202020204" pitchFamily="34" charset="0"/>
                <a:cs typeface="Arial" panose="020B0604020202020204" pitchFamily="34" charset="0"/>
              </a:rPr>
              <a:t>"What tax tools do we have today?“</a:t>
            </a:r>
          </a:p>
          <a:p>
            <a:pPr>
              <a:buNone/>
            </a:pPr>
            <a:endParaRPr lang="en-IN" sz="2000" dirty="0">
              <a:latin typeface="Arial" panose="020B0604020202020204" pitchFamily="34" charset="0"/>
              <a:cs typeface="Arial" panose="020B0604020202020204" pitchFamily="34" charset="0"/>
            </a:endParaRPr>
          </a:p>
          <a:p>
            <a:pPr>
              <a:buNone/>
            </a:pPr>
            <a:r>
              <a:rPr lang="en-IN" sz="2000" dirty="0">
                <a:latin typeface="Arial" panose="020B0604020202020204" pitchFamily="34" charset="0"/>
                <a:cs typeface="Arial" panose="020B0604020202020204" pitchFamily="34" charset="0"/>
              </a:rPr>
              <a:t>MCP replies with a </a:t>
            </a:r>
            <a:r>
              <a:rPr lang="en-IN" sz="2000" dirty="0" err="1">
                <a:latin typeface="Arial" panose="020B0604020202020204" pitchFamily="34" charset="0"/>
                <a:cs typeface="Arial" panose="020B0604020202020204" pitchFamily="34" charset="0"/>
              </a:rPr>
              <a:t>catalog</a:t>
            </a:r>
            <a:r>
              <a:rPr lang="en-IN" sz="2000" dirty="0">
                <a:latin typeface="Arial" panose="020B0604020202020204" pitchFamily="34" charset="0"/>
                <a:cs typeface="Arial" panose="020B0604020202020204" pitchFamily="34" charset="0"/>
              </a:rPr>
              <a:t>:</a:t>
            </a: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invoice_reader_tool</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gst_rate_lookup</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reverse_charge_checker</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a:latin typeface="Arial" panose="020B0604020202020204" pitchFamily="34" charset="0"/>
                <a:cs typeface="Arial" panose="020B0604020202020204" pitchFamily="34" charset="0"/>
              </a:rPr>
              <a:t>gstr2a_fetcher</a:t>
            </a: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reconciliation_tool</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itc_eligibility_engine</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35018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Solves the Probl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3080A2B-1191-6E12-58FD-BF37AF58811F}"/>
              </a:ext>
            </a:extLst>
          </p:cNvPr>
          <p:cNvSpPr txBox="1"/>
          <p:nvPr/>
        </p:nvSpPr>
        <p:spPr>
          <a:xfrm>
            <a:off x="590329" y="1371600"/>
            <a:ext cx="11353800" cy="5324535"/>
          </a:xfrm>
          <a:prstGeom prst="rect">
            <a:avLst/>
          </a:prstGeom>
          <a:noFill/>
        </p:spPr>
        <p:txBody>
          <a:bodyPr wrap="square">
            <a:spAutoFit/>
          </a:bodyPr>
          <a:lstStyle/>
          <a:p>
            <a:pPr>
              <a:buNone/>
            </a:pPr>
            <a:r>
              <a:rPr lang="en-IN" sz="2000" b="1" dirty="0">
                <a:latin typeface="Arial" panose="020B0604020202020204" pitchFamily="34" charset="0"/>
                <a:cs typeface="Arial" panose="020B0604020202020204" pitchFamily="34" charset="0"/>
              </a:rPr>
              <a:t>Dynamic discovery of tax tools</a:t>
            </a:r>
          </a:p>
          <a:p>
            <a:pPr>
              <a:buNone/>
            </a:pPr>
            <a:endParaRPr lang="en-IN" sz="2000" b="1" dirty="0">
              <a:latin typeface="Arial" panose="020B0604020202020204" pitchFamily="34" charset="0"/>
              <a:cs typeface="Arial" panose="020B0604020202020204" pitchFamily="34" charset="0"/>
            </a:endParaRPr>
          </a:p>
          <a:p>
            <a:pPr>
              <a:buNone/>
            </a:pPr>
            <a:r>
              <a:rPr lang="en-IN" sz="2000" dirty="0">
                <a:latin typeface="Arial" panose="020B0604020202020204" pitchFamily="34" charset="0"/>
                <a:cs typeface="Arial" panose="020B0604020202020204" pitchFamily="34" charset="0"/>
              </a:rPr>
              <a:t>Agents ask MCP:</a:t>
            </a:r>
          </a:p>
          <a:p>
            <a:pPr>
              <a:buNone/>
            </a:pPr>
            <a:endParaRPr lang="en-IN" sz="2000" dirty="0">
              <a:latin typeface="Arial" panose="020B0604020202020204" pitchFamily="34" charset="0"/>
              <a:cs typeface="Arial" panose="020B0604020202020204" pitchFamily="34" charset="0"/>
            </a:endParaRPr>
          </a:p>
          <a:p>
            <a:pPr>
              <a:buNone/>
            </a:pPr>
            <a:r>
              <a:rPr lang="en-IN" sz="2000" i="1" dirty="0">
                <a:latin typeface="Arial" panose="020B0604020202020204" pitchFamily="34" charset="0"/>
                <a:cs typeface="Arial" panose="020B0604020202020204" pitchFamily="34" charset="0"/>
              </a:rPr>
              <a:t>"What tax tools do we have today?“</a:t>
            </a:r>
          </a:p>
          <a:p>
            <a:pPr>
              <a:buNone/>
            </a:pPr>
            <a:endParaRPr lang="en-IN" sz="2000" dirty="0">
              <a:latin typeface="Arial" panose="020B0604020202020204" pitchFamily="34" charset="0"/>
              <a:cs typeface="Arial" panose="020B0604020202020204" pitchFamily="34" charset="0"/>
            </a:endParaRPr>
          </a:p>
          <a:p>
            <a:pPr>
              <a:buNone/>
            </a:pPr>
            <a:r>
              <a:rPr lang="en-IN" sz="2000" dirty="0">
                <a:latin typeface="Arial" panose="020B0604020202020204" pitchFamily="34" charset="0"/>
                <a:cs typeface="Arial" panose="020B0604020202020204" pitchFamily="34" charset="0"/>
              </a:rPr>
              <a:t>MCP replies with a </a:t>
            </a:r>
            <a:r>
              <a:rPr lang="en-IN" sz="2000" dirty="0" err="1">
                <a:latin typeface="Arial" panose="020B0604020202020204" pitchFamily="34" charset="0"/>
                <a:cs typeface="Arial" panose="020B0604020202020204" pitchFamily="34" charset="0"/>
              </a:rPr>
              <a:t>catalog</a:t>
            </a:r>
            <a:r>
              <a:rPr lang="en-IN" sz="2000" dirty="0">
                <a:latin typeface="Arial" panose="020B0604020202020204" pitchFamily="34" charset="0"/>
                <a:cs typeface="Arial" panose="020B0604020202020204" pitchFamily="34" charset="0"/>
              </a:rPr>
              <a:t>:</a:t>
            </a: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invoice_reader_tool</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gst_rate_lookup</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reverse_charge_checker</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a:latin typeface="Arial" panose="020B0604020202020204" pitchFamily="34" charset="0"/>
                <a:cs typeface="Arial" panose="020B0604020202020204" pitchFamily="34" charset="0"/>
              </a:rPr>
              <a:t>gstr2a_fetcher</a:t>
            </a: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reconciliation_tool</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r>
              <a:rPr lang="en-IN" sz="2000" dirty="0" err="1">
                <a:latin typeface="Arial" panose="020B0604020202020204" pitchFamily="34" charset="0"/>
                <a:cs typeface="Arial" panose="020B0604020202020204" pitchFamily="34" charset="0"/>
              </a:rPr>
              <a:t>itc_eligibility_engine</a:t>
            </a:r>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endParaRPr lang="en-IN" sz="2000" dirty="0">
              <a:latin typeface="Arial" panose="020B0604020202020204" pitchFamily="34" charset="0"/>
              <a:cs typeface="Arial" panose="020B0604020202020204" pitchFamily="34" charset="0"/>
            </a:endParaRPr>
          </a:p>
          <a:p>
            <a:r>
              <a:rPr lang="en-IN" sz="2000" dirty="0"/>
              <a:t>If tomorrow you add </a:t>
            </a:r>
            <a:r>
              <a:rPr lang="en-IN" sz="2000" i="1" dirty="0"/>
              <a:t>E-invoice validation</a:t>
            </a:r>
            <a:r>
              <a:rPr lang="en-IN" sz="2000" dirty="0"/>
              <a:t> or </a:t>
            </a:r>
            <a:r>
              <a:rPr lang="en-IN" sz="2000" i="1" dirty="0"/>
              <a:t>E-waybill generator</a:t>
            </a:r>
            <a:r>
              <a:rPr lang="en-IN" sz="2000" dirty="0"/>
              <a:t>, every agent instantly sees it.</a:t>
            </a:r>
          </a:p>
          <a:p>
            <a:endParaRPr lang="en-IN" sz="2000" dirty="0">
              <a:latin typeface="Arial" panose="020B0604020202020204" pitchFamily="34" charset="0"/>
              <a:cs typeface="Arial" panose="020B0604020202020204" pitchFamily="34" charset="0"/>
            </a:endParaRPr>
          </a:p>
          <a:p>
            <a:pPr>
              <a:buFont typeface="Arial" panose="020B0604020202020204" pitchFamily="34" charset="0"/>
              <a:buChar char="•"/>
            </a:pP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43854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Solves the Probl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3080A2B-1191-6E12-58FD-BF37AF58811F}"/>
              </a:ext>
            </a:extLst>
          </p:cNvPr>
          <p:cNvSpPr txBox="1"/>
          <p:nvPr/>
        </p:nvSpPr>
        <p:spPr>
          <a:xfrm>
            <a:off x="590329" y="1371600"/>
            <a:ext cx="11353800" cy="4524315"/>
          </a:xfrm>
          <a:prstGeom prst="rect">
            <a:avLst/>
          </a:prstGeom>
          <a:noFill/>
        </p:spPr>
        <p:txBody>
          <a:bodyPr wrap="square">
            <a:spAutoFit/>
          </a:bodyPr>
          <a:lstStyle/>
          <a:p>
            <a:pPr>
              <a:buNone/>
            </a:pPr>
            <a:r>
              <a:rPr lang="en-IN" sz="2400" b="1" dirty="0">
                <a:latin typeface="Arial" panose="020B0604020202020204" pitchFamily="34" charset="0"/>
                <a:cs typeface="Arial" panose="020B0604020202020204" pitchFamily="34" charset="0"/>
              </a:rPr>
              <a:t>Safe context sharing</a:t>
            </a:r>
          </a:p>
          <a:p>
            <a:pPr>
              <a:buNone/>
            </a:pPr>
            <a:r>
              <a:rPr lang="en-IN" sz="2400" dirty="0">
                <a:latin typeface="Arial" panose="020B0604020202020204" pitchFamily="34" charset="0"/>
                <a:cs typeface="Arial" panose="020B0604020202020204" pitchFamily="34" charset="0"/>
              </a:rPr>
              <a:t>MCP enforces well-defined formats.</a:t>
            </a:r>
          </a:p>
          <a:p>
            <a:pPr>
              <a:buNone/>
            </a:pPr>
            <a:r>
              <a:rPr lang="en-IN" sz="2400" dirty="0">
                <a:latin typeface="Arial" panose="020B0604020202020204" pitchFamily="34" charset="0"/>
                <a:cs typeface="Arial" panose="020B0604020202020204" pitchFamily="34" charset="0"/>
              </a:rPr>
              <a:t>Agents pass validated JSON structures.</a:t>
            </a:r>
          </a:p>
          <a:p>
            <a:pPr>
              <a:buNone/>
            </a:pPr>
            <a:r>
              <a:rPr lang="en-IN" sz="2400" dirty="0">
                <a:latin typeface="Arial" panose="020B0604020202020204" pitchFamily="34" charset="0"/>
                <a:cs typeface="Arial" panose="020B0604020202020204" pitchFamily="34" charset="0"/>
              </a:rPr>
              <a:t>None of the fields mysteriously change names like shape-shifting bureaucrats.</a:t>
            </a:r>
          </a:p>
          <a:p>
            <a:pPr>
              <a:buNone/>
            </a:pPr>
            <a:endParaRPr lang="en-IN" sz="2400" dirty="0">
              <a:latin typeface="Arial" panose="020B0604020202020204" pitchFamily="34" charset="0"/>
              <a:cs typeface="Arial" panose="020B0604020202020204" pitchFamily="34" charset="0"/>
            </a:endParaRPr>
          </a:p>
          <a:p>
            <a:r>
              <a:rPr lang="en-IN" sz="2400" b="1" dirty="0">
                <a:latin typeface="Arial" panose="020B0604020202020204" pitchFamily="34" charset="0"/>
                <a:cs typeface="Arial" panose="020B0604020202020204" pitchFamily="34" charset="0"/>
              </a:rPr>
              <a:t>Agents only express intent</a:t>
            </a:r>
          </a:p>
          <a:p>
            <a:r>
              <a:rPr lang="en-IN" sz="2400" dirty="0">
                <a:latin typeface="Arial" panose="020B0604020202020204" pitchFamily="34" charset="0"/>
                <a:cs typeface="Arial" panose="020B0604020202020204" pitchFamily="34" charset="0"/>
              </a:rPr>
              <a:t>Agents don’t need to worry about:</a:t>
            </a:r>
          </a:p>
          <a:p>
            <a:r>
              <a:rPr lang="en-IN" sz="2400" dirty="0">
                <a:latin typeface="Arial" panose="020B0604020202020204" pitchFamily="34" charset="0"/>
                <a:cs typeface="Arial" panose="020B0604020202020204" pitchFamily="34" charset="0"/>
              </a:rPr>
              <a:t>GST rate changes</a:t>
            </a:r>
          </a:p>
          <a:p>
            <a:r>
              <a:rPr lang="en-IN" sz="2400" dirty="0">
                <a:latin typeface="Arial" panose="020B0604020202020204" pitchFamily="34" charset="0"/>
                <a:cs typeface="Arial" panose="020B0604020202020204" pitchFamily="34" charset="0"/>
              </a:rPr>
              <a:t>API keys</a:t>
            </a:r>
          </a:p>
          <a:p>
            <a:r>
              <a:rPr lang="en-IN" sz="2400" dirty="0">
                <a:latin typeface="Arial" panose="020B0604020202020204" pitchFamily="34" charset="0"/>
                <a:cs typeface="Arial" panose="020B0604020202020204" pitchFamily="34" charset="0"/>
              </a:rPr>
              <a:t>Authentication</a:t>
            </a:r>
          </a:p>
          <a:p>
            <a:r>
              <a:rPr lang="en-IN" sz="2400" dirty="0">
                <a:latin typeface="Arial" panose="020B0604020202020204" pitchFamily="34" charset="0"/>
                <a:cs typeface="Arial" panose="020B0604020202020204" pitchFamily="34" charset="0"/>
              </a:rPr>
              <a:t>New tax rules</a:t>
            </a:r>
          </a:p>
          <a:p>
            <a:r>
              <a:rPr lang="en-IN" sz="2400" dirty="0">
                <a:latin typeface="Arial" panose="020B0604020202020204" pitchFamily="34" charset="0"/>
                <a:cs typeface="Arial" panose="020B0604020202020204" pitchFamily="34" charset="0"/>
              </a:rPr>
              <a:t>Data source URLs</a:t>
            </a:r>
          </a:p>
        </p:txBody>
      </p:sp>
    </p:spTree>
    <p:extLst>
      <p:ext uri="{BB962C8B-B14F-4D97-AF65-F5344CB8AC3E}">
        <p14:creationId xmlns:p14="http://schemas.microsoft.com/office/powerpoint/2010/main" val="12173146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Solves the Problem</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le 1">
            <a:extLst>
              <a:ext uri="{FF2B5EF4-FFF2-40B4-BE49-F238E27FC236}">
                <a16:creationId xmlns:a16="http://schemas.microsoft.com/office/drawing/2014/main" id="{C3384712-79F9-EAD6-55DA-5BF5C14A6B4C}"/>
              </a:ext>
            </a:extLst>
          </p:cNvPr>
          <p:cNvGraphicFramePr>
            <a:graphicFrameLocks noGrp="1"/>
          </p:cNvGraphicFramePr>
          <p:nvPr>
            <p:extLst>
              <p:ext uri="{D42A27DB-BD31-4B8C-83A1-F6EECF244321}">
                <p14:modId xmlns:p14="http://schemas.microsoft.com/office/powerpoint/2010/main" val="780121462"/>
              </p:ext>
            </p:extLst>
          </p:nvPr>
        </p:nvGraphicFramePr>
        <p:xfrm>
          <a:off x="822158" y="2017294"/>
          <a:ext cx="10515600" cy="3291840"/>
        </p:xfrm>
        <a:graphic>
          <a:graphicData uri="http://schemas.openxmlformats.org/drawingml/2006/table">
            <a:tbl>
              <a:tblPr/>
              <a:tblGrid>
                <a:gridCol w="3505200">
                  <a:extLst>
                    <a:ext uri="{9D8B030D-6E8A-4147-A177-3AD203B41FA5}">
                      <a16:colId xmlns:a16="http://schemas.microsoft.com/office/drawing/2014/main" val="4007001976"/>
                    </a:ext>
                  </a:extLst>
                </a:gridCol>
                <a:gridCol w="3505200">
                  <a:extLst>
                    <a:ext uri="{9D8B030D-6E8A-4147-A177-3AD203B41FA5}">
                      <a16:colId xmlns:a16="http://schemas.microsoft.com/office/drawing/2014/main" val="4149982809"/>
                    </a:ext>
                  </a:extLst>
                </a:gridCol>
                <a:gridCol w="3505200">
                  <a:extLst>
                    <a:ext uri="{9D8B030D-6E8A-4147-A177-3AD203B41FA5}">
                      <a16:colId xmlns:a16="http://schemas.microsoft.com/office/drawing/2014/main" val="2243905419"/>
                    </a:ext>
                  </a:extLst>
                </a:gridCol>
              </a:tblGrid>
              <a:tr h="0">
                <a:tc>
                  <a:txBody>
                    <a:bodyPr/>
                    <a:lstStyle/>
                    <a:p>
                      <a:pPr algn="ctr">
                        <a:buNone/>
                      </a:pPr>
                      <a:r>
                        <a:rPr lang="en-IN" sz="2000" b="1" dirty="0">
                          <a:latin typeface="Arial" panose="020B0604020202020204" pitchFamily="34" charset="0"/>
                          <a:cs typeface="Arial" panose="020B0604020202020204" pitchFamily="34" charset="0"/>
                        </a:rPr>
                        <a:t>Asp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0000"/>
                      </a:schemeClr>
                    </a:solidFill>
                  </a:tcPr>
                </a:tc>
                <a:tc>
                  <a:txBody>
                    <a:bodyPr/>
                    <a:lstStyle/>
                    <a:p>
                      <a:pPr algn="ctr">
                        <a:buNone/>
                      </a:pPr>
                      <a:r>
                        <a:rPr lang="en-IN" sz="2000" b="1" dirty="0">
                          <a:latin typeface="Arial" panose="020B0604020202020204" pitchFamily="34" charset="0"/>
                          <a:cs typeface="Arial" panose="020B0604020202020204" pitchFamily="34" charset="0"/>
                        </a:rPr>
                        <a:t>Without MC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0000"/>
                      </a:schemeClr>
                    </a:solidFill>
                  </a:tcPr>
                </a:tc>
                <a:tc>
                  <a:txBody>
                    <a:bodyPr/>
                    <a:lstStyle/>
                    <a:p>
                      <a:pPr algn="ctr">
                        <a:buNone/>
                      </a:pPr>
                      <a:r>
                        <a:rPr lang="en-IN" sz="2000" b="1" dirty="0">
                          <a:latin typeface="Arial" panose="020B0604020202020204" pitchFamily="34" charset="0"/>
                          <a:cs typeface="Arial" panose="020B0604020202020204" pitchFamily="34" charset="0"/>
                        </a:rPr>
                        <a:t>With MC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656804347"/>
                  </a:ext>
                </a:extLst>
              </a:tr>
              <a:tr h="0">
                <a:tc>
                  <a:txBody>
                    <a:bodyPr/>
                    <a:lstStyle/>
                    <a:p>
                      <a:pPr>
                        <a:buNone/>
                      </a:pPr>
                      <a:r>
                        <a:rPr lang="en-IN" sz="2000" dirty="0">
                          <a:latin typeface="Arial" panose="020B0604020202020204" pitchFamily="34" charset="0"/>
                          <a:cs typeface="Arial" panose="020B0604020202020204" pitchFamily="34" charset="0"/>
                        </a:rPr>
                        <a:t>GST rate look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dirty="0">
                          <a:latin typeface="Arial" panose="020B0604020202020204" pitchFamily="34" charset="0"/>
                          <a:cs typeface="Arial" panose="020B0604020202020204" pitchFamily="34" charset="0"/>
                        </a:rPr>
                        <a:t>Hard-coded, inconsis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Unified schema, auto-discover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1986989"/>
                  </a:ext>
                </a:extLst>
              </a:tr>
              <a:tr h="0">
                <a:tc>
                  <a:txBody>
                    <a:bodyPr/>
                    <a:lstStyle/>
                    <a:p>
                      <a:pPr>
                        <a:buNone/>
                      </a:pPr>
                      <a:r>
                        <a:rPr lang="en-IN" sz="2000">
                          <a:latin typeface="Arial" panose="020B0604020202020204" pitchFamily="34" charset="0"/>
                          <a:cs typeface="Arial" panose="020B0604020202020204" pitchFamily="34" charset="0"/>
                        </a:rPr>
                        <a:t>Invoice pars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Each agent custom-co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Single shared tool, consistent outpu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6507074"/>
                  </a:ext>
                </a:extLst>
              </a:tr>
              <a:tr h="0">
                <a:tc>
                  <a:txBody>
                    <a:bodyPr/>
                    <a:lstStyle/>
                    <a:p>
                      <a:pPr>
                        <a:buNone/>
                      </a:pPr>
                      <a:r>
                        <a:rPr lang="en-IN" sz="2000">
                          <a:latin typeface="Arial" panose="020B0604020202020204" pitchFamily="34" charset="0"/>
                          <a:cs typeface="Arial" panose="020B0604020202020204" pitchFamily="34" charset="0"/>
                        </a:rPr>
                        <a:t>GSTR reconcili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Manual wir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Any agent can call reconciliation too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1743829"/>
                  </a:ext>
                </a:extLst>
              </a:tr>
              <a:tr h="0">
                <a:tc>
                  <a:txBody>
                    <a:bodyPr/>
                    <a:lstStyle/>
                    <a:p>
                      <a:pPr>
                        <a:buNone/>
                      </a:pPr>
                      <a:r>
                        <a:rPr lang="en-IN" sz="2000">
                          <a:latin typeface="Arial" panose="020B0604020202020204" pitchFamily="34" charset="0"/>
                          <a:cs typeface="Arial" panose="020B0604020202020204" pitchFamily="34" charset="0"/>
                        </a:rPr>
                        <a:t>Adding new compliance ru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Breaks existing ag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a:latin typeface="Arial" panose="020B0604020202020204" pitchFamily="34" charset="0"/>
                          <a:cs typeface="Arial" panose="020B0604020202020204" pitchFamily="34" charset="0"/>
                        </a:rPr>
                        <a:t>Instantly avail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2952311"/>
                  </a:ext>
                </a:extLst>
              </a:tr>
              <a:tr h="0">
                <a:tc>
                  <a:txBody>
                    <a:bodyPr/>
                    <a:lstStyle/>
                    <a:p>
                      <a:pPr>
                        <a:buNone/>
                      </a:pPr>
                      <a:r>
                        <a:rPr lang="en-IN" sz="2000">
                          <a:latin typeface="Arial" panose="020B0604020202020204" pitchFamily="34" charset="0"/>
                          <a:cs typeface="Arial" panose="020B0604020202020204" pitchFamily="34" charset="0"/>
                        </a:rPr>
                        <a:t>Data qua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dirty="0">
                          <a:latin typeface="Arial" panose="020B0604020202020204" pitchFamily="34" charset="0"/>
                          <a:cs typeface="Arial" panose="020B0604020202020204" pitchFamily="34" charset="0"/>
                        </a:rPr>
                        <a:t>Mutates unpredictab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None/>
                      </a:pPr>
                      <a:r>
                        <a:rPr lang="en-IN" sz="2000" dirty="0">
                          <a:latin typeface="Arial" panose="020B0604020202020204" pitchFamily="34" charset="0"/>
                          <a:cs typeface="Arial" panose="020B0604020202020204" pitchFamily="34" charset="0"/>
                        </a:rPr>
                        <a:t>Schema-validated, saf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467411"/>
                  </a:ext>
                </a:extLst>
              </a:tr>
            </a:tbl>
          </a:graphicData>
        </a:graphic>
      </p:graphicFrame>
    </p:spTree>
    <p:extLst>
      <p:ext uri="{BB962C8B-B14F-4D97-AF65-F5344CB8AC3E}">
        <p14:creationId xmlns:p14="http://schemas.microsoft.com/office/powerpoint/2010/main" val="9310181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is MCP (Model Context Protocol)</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2">
            <a:extLst>
              <a:ext uri="{FF2B5EF4-FFF2-40B4-BE49-F238E27FC236}">
                <a16:creationId xmlns:a16="http://schemas.microsoft.com/office/drawing/2014/main" id="{67601584-D571-A91C-A276-B18A609A109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918678" y="1524000"/>
            <a:ext cx="10322560" cy="4032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49191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diagram of a process&#10;&#10;AI-generated content may be incorrect.">
            <a:extLst>
              <a:ext uri="{FF2B5EF4-FFF2-40B4-BE49-F238E27FC236}">
                <a16:creationId xmlns:a16="http://schemas.microsoft.com/office/drawing/2014/main" id="{AE868D2A-B45B-9861-71D8-44A768424BA5}"/>
              </a:ext>
            </a:extLst>
          </p:cNvPr>
          <p:cNvPicPr>
            <a:picLocks noChangeAspect="1"/>
          </p:cNvPicPr>
          <p:nvPr/>
        </p:nvPicPr>
        <p:blipFill>
          <a:blip r:embed="rId2"/>
          <a:stretch>
            <a:fillRect/>
          </a:stretch>
        </p:blipFill>
        <p:spPr>
          <a:xfrm>
            <a:off x="304800" y="0"/>
            <a:ext cx="5003478" cy="6021659"/>
          </a:xfrm>
          <a:prstGeom prst="rect">
            <a:avLst/>
          </a:prstGeom>
        </p:spPr>
      </p:pic>
      <p:pic>
        <p:nvPicPr>
          <p:cNvPr id="3" name="Picture 2" descr="A diagram of a company&#10;&#10;AI-generated content may be incorrect.">
            <a:extLst>
              <a:ext uri="{FF2B5EF4-FFF2-40B4-BE49-F238E27FC236}">
                <a16:creationId xmlns:a16="http://schemas.microsoft.com/office/drawing/2014/main" id="{9DD37C49-14D1-BD3A-CB55-7F82194C5782}"/>
              </a:ext>
            </a:extLst>
          </p:cNvPr>
          <p:cNvPicPr>
            <a:picLocks noChangeAspect="1"/>
          </p:cNvPicPr>
          <p:nvPr/>
        </p:nvPicPr>
        <p:blipFill>
          <a:blip r:embed="rId3"/>
          <a:stretch>
            <a:fillRect/>
          </a:stretch>
        </p:blipFill>
        <p:spPr>
          <a:xfrm>
            <a:off x="4724400" y="152400"/>
            <a:ext cx="5787781" cy="6110868"/>
          </a:xfrm>
          <a:prstGeom prst="rect">
            <a:avLst/>
          </a:prstGeom>
        </p:spPr>
      </p:pic>
    </p:spTree>
    <p:extLst>
      <p:ext uri="{BB962C8B-B14F-4D97-AF65-F5344CB8AC3E}">
        <p14:creationId xmlns:p14="http://schemas.microsoft.com/office/powerpoint/2010/main" val="2435959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Generative AI</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Diagonal Corners Snipped 1">
            <a:extLst>
              <a:ext uri="{FF2B5EF4-FFF2-40B4-BE49-F238E27FC236}">
                <a16:creationId xmlns:a16="http://schemas.microsoft.com/office/drawing/2014/main" id="{E51E1714-CAC4-C1BB-8F1F-B1155406404F}"/>
              </a:ext>
            </a:extLst>
          </p:cNvPr>
          <p:cNvSpPr/>
          <p:nvPr/>
        </p:nvSpPr>
        <p:spPr>
          <a:xfrm>
            <a:off x="654518" y="1078029"/>
            <a:ext cx="10915048" cy="5072514"/>
          </a:xfrm>
          <a:prstGeom prst="snip2Diag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Google Shape;114;g2d274884544_1_240">
            <a:extLst>
              <a:ext uri="{FF2B5EF4-FFF2-40B4-BE49-F238E27FC236}">
                <a16:creationId xmlns:a16="http://schemas.microsoft.com/office/drawing/2014/main" id="{CDEEBE5E-8427-780F-2A62-F72CA962A4CE}"/>
              </a:ext>
            </a:extLst>
          </p:cNvPr>
          <p:cNvSpPr txBox="1"/>
          <p:nvPr/>
        </p:nvSpPr>
        <p:spPr>
          <a:xfrm>
            <a:off x="879300" y="1690082"/>
            <a:ext cx="8651400" cy="3477835"/>
          </a:xfrm>
          <a:prstGeom prst="rect">
            <a:avLst/>
          </a:prstGeom>
          <a:noFill/>
          <a:ln>
            <a:noFill/>
          </a:ln>
        </p:spPr>
        <p:txBody>
          <a:bodyPr spcFirstLastPara="1" wrap="square" lIns="91425" tIns="45700" rIns="91425" bIns="45700" anchor="t" anchorCtr="0">
            <a:spAutoFit/>
          </a:bodyPr>
          <a:lstStyle/>
          <a:p>
            <a:pPr marL="457200" marR="0" lvl="0" indent="-368300" algn="l" defTabSz="914400" rtl="0" eaLnBrk="1" fontAlgn="auto" latinLnBrk="0" hangingPunct="1">
              <a:lnSpc>
                <a:spcPct val="200000"/>
              </a:lnSpc>
              <a:spcBef>
                <a:spcPts val="0"/>
              </a:spcBef>
              <a:spcAft>
                <a:spcPts val="0"/>
              </a:spcAft>
              <a:buClr>
                <a:prstClr val="black"/>
              </a:buClr>
              <a:buSzPts val="2200"/>
              <a:buFont typeface="Wingdings" panose="05000000000000000000" pitchFamily="2" charset="2"/>
              <a:buChar char="Ø"/>
              <a:tabLst/>
              <a:defRPr/>
            </a:pPr>
            <a:r>
              <a:rPr kumimoji="0" lang="en-US" sz="2200" b="0" i="0" u="none" strike="noStrike" kern="1200" cap="none" spc="0" normalizeH="0" baseline="0" noProof="0" dirty="0">
                <a:ln>
                  <a:noFill/>
                </a:ln>
                <a:solidFill>
                  <a:prstClr val="black"/>
                </a:solidFill>
                <a:effectLst/>
                <a:uLnTx/>
                <a:uFillTx/>
                <a:latin typeface="Arial"/>
                <a:ea typeface="Arial"/>
                <a:cs typeface="Arial"/>
                <a:sym typeface="Arial"/>
              </a:rPr>
              <a:t>A subset of Artificial Intelligence (AI)</a:t>
            </a:r>
            <a:endParaRPr kumimoji="0" sz="2200" b="0" i="0" u="none" strike="noStrike" kern="1200" cap="none" spc="0" normalizeH="0" baseline="0" noProof="0" dirty="0">
              <a:ln>
                <a:noFill/>
              </a:ln>
              <a:solidFill>
                <a:prstClr val="black"/>
              </a:solidFill>
              <a:effectLst/>
              <a:uLnTx/>
              <a:uFillTx/>
              <a:latin typeface="Arial"/>
              <a:ea typeface="Arial"/>
              <a:cs typeface="Arial"/>
              <a:sym typeface="Arial"/>
            </a:endParaRPr>
          </a:p>
          <a:p>
            <a:pPr marL="457200" marR="0" lvl="0" indent="-368300" algn="l" defTabSz="914400" rtl="0" eaLnBrk="1" fontAlgn="auto" latinLnBrk="0" hangingPunct="1">
              <a:lnSpc>
                <a:spcPct val="200000"/>
              </a:lnSpc>
              <a:spcBef>
                <a:spcPts val="0"/>
              </a:spcBef>
              <a:spcAft>
                <a:spcPts val="0"/>
              </a:spcAft>
              <a:buClr>
                <a:prstClr val="black"/>
              </a:buClr>
              <a:buSzPts val="2200"/>
              <a:buFont typeface="Wingdings" panose="05000000000000000000" pitchFamily="2" charset="2"/>
              <a:buChar char="Ø"/>
              <a:tabLst/>
              <a:defRPr/>
            </a:pPr>
            <a:r>
              <a:rPr kumimoji="0" lang="en-US" sz="2200" b="0" i="0" u="none" strike="noStrike" kern="1200" cap="none" spc="0" normalizeH="0" baseline="0" noProof="0" dirty="0">
                <a:ln>
                  <a:noFill/>
                </a:ln>
                <a:solidFill>
                  <a:prstClr val="black"/>
                </a:solidFill>
                <a:effectLst/>
                <a:uLnTx/>
                <a:uFillTx/>
                <a:latin typeface="Arial"/>
                <a:ea typeface="Arial"/>
                <a:cs typeface="Arial"/>
                <a:sym typeface="Arial"/>
              </a:rPr>
              <a:t>Enables machines to generate new, original content</a:t>
            </a:r>
            <a:endParaRPr kumimoji="0" sz="2200" b="0" i="0" u="none" strike="noStrike" kern="1200" cap="none" spc="0" normalizeH="0" baseline="0" noProof="0" dirty="0">
              <a:ln>
                <a:noFill/>
              </a:ln>
              <a:solidFill>
                <a:prstClr val="black"/>
              </a:solidFill>
              <a:effectLst/>
              <a:uLnTx/>
              <a:uFillTx/>
              <a:latin typeface="Arial"/>
              <a:ea typeface="Arial"/>
              <a:cs typeface="Arial"/>
              <a:sym typeface="Arial"/>
            </a:endParaRPr>
          </a:p>
          <a:p>
            <a:pPr marL="457200" marR="0" lvl="0" indent="-368300" algn="l" defTabSz="914400" rtl="0" eaLnBrk="1" fontAlgn="auto" latinLnBrk="0" hangingPunct="1">
              <a:lnSpc>
                <a:spcPct val="200000"/>
              </a:lnSpc>
              <a:spcBef>
                <a:spcPts val="0"/>
              </a:spcBef>
              <a:spcAft>
                <a:spcPts val="0"/>
              </a:spcAft>
              <a:buClr>
                <a:prstClr val="black"/>
              </a:buClr>
              <a:buSzPts val="2200"/>
              <a:buFont typeface="Wingdings" panose="05000000000000000000" pitchFamily="2" charset="2"/>
              <a:buChar char="Ø"/>
              <a:tabLst/>
              <a:defRPr/>
            </a:pPr>
            <a:r>
              <a:rPr kumimoji="0" lang="en-US" sz="2200" b="0" i="0" u="none" strike="noStrike" kern="1200" cap="none" spc="0" normalizeH="0" baseline="0" noProof="0" dirty="0">
                <a:ln>
                  <a:noFill/>
                </a:ln>
                <a:solidFill>
                  <a:prstClr val="black"/>
                </a:solidFill>
                <a:effectLst/>
                <a:uLnTx/>
                <a:uFillTx/>
                <a:latin typeface="Arial"/>
                <a:ea typeface="Arial"/>
                <a:cs typeface="Arial"/>
                <a:sym typeface="Arial"/>
              </a:rPr>
              <a:t>Uses machine learning algorithms to create novel outputs</a:t>
            </a:r>
            <a:endParaRPr kumimoji="0" sz="2200" b="0" i="0" u="none" strike="noStrike" kern="1200" cap="none" spc="0" normalizeH="0" baseline="0" noProof="0" dirty="0">
              <a:ln>
                <a:noFill/>
              </a:ln>
              <a:solidFill>
                <a:prstClr val="black"/>
              </a:solidFill>
              <a:effectLst/>
              <a:uLnTx/>
              <a:uFillTx/>
              <a:latin typeface="Arial"/>
              <a:ea typeface="Arial"/>
              <a:cs typeface="Arial"/>
              <a:sym typeface="Arial"/>
            </a:endParaRPr>
          </a:p>
          <a:p>
            <a:pPr marL="457200" marR="0" lvl="0" indent="-368300" algn="l" defTabSz="914400" rtl="0" eaLnBrk="1" fontAlgn="auto" latinLnBrk="0" hangingPunct="1">
              <a:lnSpc>
                <a:spcPct val="200000"/>
              </a:lnSpc>
              <a:spcBef>
                <a:spcPts val="0"/>
              </a:spcBef>
              <a:spcAft>
                <a:spcPts val="0"/>
              </a:spcAft>
              <a:buClr>
                <a:prstClr val="black"/>
              </a:buClr>
              <a:buSzPts val="2200"/>
              <a:buFont typeface="Wingdings" panose="05000000000000000000" pitchFamily="2" charset="2"/>
              <a:buChar char="Ø"/>
              <a:tabLst/>
              <a:defRPr/>
            </a:pPr>
            <a:r>
              <a:rPr kumimoji="0" lang="en-US" sz="2200" b="0" i="0" u="none" strike="noStrike" kern="1200" cap="none" spc="0" normalizeH="0" baseline="0" noProof="0" dirty="0">
                <a:ln>
                  <a:noFill/>
                </a:ln>
                <a:solidFill>
                  <a:prstClr val="black"/>
                </a:solidFill>
                <a:effectLst/>
                <a:uLnTx/>
                <a:uFillTx/>
                <a:latin typeface="Arial"/>
                <a:ea typeface="Arial"/>
                <a:cs typeface="Arial"/>
                <a:sym typeface="Arial"/>
              </a:rPr>
              <a:t>Can generate text, images, music, and more</a:t>
            </a:r>
            <a:endParaRPr kumimoji="0" sz="2200" b="0" i="0" u="none" strike="noStrike" kern="1200" cap="none" spc="0" normalizeH="0" baseline="0" noProof="0" dirty="0">
              <a:ln>
                <a:noFill/>
              </a:ln>
              <a:solidFill>
                <a:prstClr val="black"/>
              </a:solidFill>
              <a:effectLst/>
              <a:uLnTx/>
              <a:uFillTx/>
              <a:latin typeface="Arial"/>
              <a:ea typeface="Arial"/>
              <a:cs typeface="Arial"/>
              <a:sym typeface="Arial"/>
            </a:endParaRPr>
          </a:p>
          <a:p>
            <a:pPr marL="457200" marR="0" lvl="0" indent="-368300" algn="l" defTabSz="914400" rtl="0" eaLnBrk="1" fontAlgn="auto" latinLnBrk="0" hangingPunct="1">
              <a:lnSpc>
                <a:spcPct val="200000"/>
              </a:lnSpc>
              <a:spcBef>
                <a:spcPts val="0"/>
              </a:spcBef>
              <a:spcAft>
                <a:spcPts val="0"/>
              </a:spcAft>
              <a:buClr>
                <a:prstClr val="black"/>
              </a:buClr>
              <a:buSzPts val="2200"/>
              <a:buFont typeface="Wingdings" panose="05000000000000000000" pitchFamily="2" charset="2"/>
              <a:buChar char="Ø"/>
              <a:tabLst/>
              <a:defRPr/>
            </a:pPr>
            <a:r>
              <a:rPr kumimoji="0" lang="en-US" sz="2200" b="0" i="0" u="none" strike="noStrike" kern="1200" cap="none" spc="0" normalizeH="0" baseline="0" noProof="0" dirty="0">
                <a:ln>
                  <a:noFill/>
                </a:ln>
                <a:solidFill>
                  <a:prstClr val="black"/>
                </a:solidFill>
                <a:effectLst/>
                <a:uLnTx/>
                <a:uFillTx/>
                <a:latin typeface="Arial"/>
                <a:ea typeface="Arial"/>
                <a:cs typeface="Arial"/>
                <a:sym typeface="Arial"/>
              </a:rPr>
              <a:t>Trained on large datasets to learn patterns and relationships</a:t>
            </a:r>
            <a:endParaRPr kumimoji="0" sz="2200" b="0" i="0" u="none" strike="noStrike" kern="1200" cap="none" spc="0" normalizeH="0" baseline="0" noProof="0" dirty="0">
              <a:ln>
                <a:noFill/>
              </a:ln>
              <a:solidFill>
                <a:prstClr val="black"/>
              </a:solidFill>
              <a:effectLst/>
              <a:uLnTx/>
              <a:uFillTx/>
              <a:latin typeface="Arial"/>
              <a:ea typeface="Arial"/>
              <a:cs typeface="Arial"/>
              <a:sym typeface="Arial"/>
            </a:endParaRPr>
          </a:p>
        </p:txBody>
      </p:sp>
    </p:spTree>
    <p:extLst>
      <p:ext uri="{BB962C8B-B14F-4D97-AF65-F5344CB8AC3E}">
        <p14:creationId xmlns:p14="http://schemas.microsoft.com/office/powerpoint/2010/main" val="317880317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MCP Enables: Tool &amp; Data Integratio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C92BEE83-364B-AE97-10BD-692C69BF1637}"/>
              </a:ext>
            </a:extLst>
          </p:cNvPr>
          <p:cNvSpPr txBox="1"/>
          <p:nvPr/>
        </p:nvSpPr>
        <p:spPr>
          <a:xfrm>
            <a:off x="414818" y="1770388"/>
            <a:ext cx="11497228" cy="3416320"/>
          </a:xfrm>
          <a:prstGeom prst="rect">
            <a:avLst/>
          </a:prstGeom>
          <a:noFill/>
        </p:spPr>
        <p:txBody>
          <a:bodyPr wrap="square">
            <a:spAutoFit/>
          </a:bodyPr>
          <a:lstStyle/>
          <a:p>
            <a:pPr marL="342900" indent="-342900">
              <a:buFont typeface="Wingdings" panose="05000000000000000000" pitchFamily="2" charset="2"/>
              <a:buChar char="Ø"/>
            </a:pPr>
            <a:r>
              <a:rPr lang="en-IN" sz="2400" dirty="0">
                <a:latin typeface="Arial" panose="020B0604020202020204" pitchFamily="34" charset="0"/>
                <a:cs typeface="Arial" panose="020B0604020202020204" pitchFamily="34" charset="0"/>
              </a:rPr>
              <a:t>Allows LLM-based agents to </a:t>
            </a:r>
            <a:r>
              <a:rPr lang="en-IN" sz="2400" b="1" dirty="0">
                <a:latin typeface="Arial" panose="020B0604020202020204" pitchFamily="34" charset="0"/>
                <a:cs typeface="Arial" panose="020B0604020202020204" pitchFamily="34" charset="0"/>
              </a:rPr>
              <a:t>fetch real-time data</a:t>
            </a:r>
            <a:r>
              <a:rPr lang="en-IN" sz="2400" dirty="0">
                <a:latin typeface="Arial" panose="020B0604020202020204" pitchFamily="34" charset="0"/>
                <a:cs typeface="Arial" panose="020B0604020202020204" pitchFamily="34" charset="0"/>
              </a:rPr>
              <a:t>, </a:t>
            </a:r>
            <a:r>
              <a:rPr lang="en-IN" sz="2400" b="1" dirty="0">
                <a:latin typeface="Arial" panose="020B0604020202020204" pitchFamily="34" charset="0"/>
                <a:cs typeface="Arial" panose="020B0604020202020204" pitchFamily="34" charset="0"/>
              </a:rPr>
              <a:t>access databases or APIs</a:t>
            </a:r>
            <a:r>
              <a:rPr lang="en-IN" sz="2400" dirty="0">
                <a:latin typeface="Arial" panose="020B0604020202020204" pitchFamily="34" charset="0"/>
                <a:cs typeface="Arial" panose="020B0604020202020204" pitchFamily="34" charset="0"/>
              </a:rPr>
              <a:t>, </a:t>
            </a:r>
            <a:r>
              <a:rPr lang="en-IN" sz="2400" b="1" dirty="0">
                <a:latin typeface="Arial" panose="020B0604020202020204" pitchFamily="34" charset="0"/>
                <a:cs typeface="Arial" panose="020B0604020202020204" pitchFamily="34" charset="0"/>
              </a:rPr>
              <a:t>read/write files</a:t>
            </a:r>
            <a:r>
              <a:rPr lang="en-IN" sz="2400" dirty="0">
                <a:latin typeface="Arial" panose="020B0604020202020204" pitchFamily="34" charset="0"/>
                <a:cs typeface="Arial" panose="020B0604020202020204" pitchFamily="34" charset="0"/>
              </a:rPr>
              <a:t>, </a:t>
            </a:r>
            <a:r>
              <a:rPr lang="en-IN" sz="2400" b="1" dirty="0">
                <a:latin typeface="Arial" panose="020B0604020202020204" pitchFamily="34" charset="0"/>
                <a:cs typeface="Arial" panose="020B0604020202020204" pitchFamily="34" charset="0"/>
              </a:rPr>
              <a:t>invoke external services</a:t>
            </a:r>
            <a:r>
              <a:rPr lang="en-IN" sz="2400" dirty="0">
                <a:latin typeface="Arial" panose="020B0604020202020204" pitchFamily="34" charset="0"/>
                <a:cs typeface="Arial" panose="020B0604020202020204" pitchFamily="34" charset="0"/>
              </a:rPr>
              <a:t>, rather than relying only on pre-trained knowledge.</a:t>
            </a:r>
          </a:p>
          <a:p>
            <a:pPr marL="342900" indent="-342900">
              <a:buFont typeface="Wingdings" panose="05000000000000000000" pitchFamily="2" charset="2"/>
              <a:buChar char="Ø"/>
            </a:pPr>
            <a:endParaRPr lang="en-IN" sz="24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400" b="1" dirty="0">
                <a:latin typeface="Arial" panose="020B0604020202020204" pitchFamily="34" charset="0"/>
                <a:cs typeface="Arial" panose="020B0604020202020204" pitchFamily="34" charset="0"/>
              </a:rPr>
              <a:t>Standardizes calls: </a:t>
            </a:r>
            <a:r>
              <a:rPr lang="en-IN" sz="2400" dirty="0">
                <a:latin typeface="Arial" panose="020B0604020202020204" pitchFamily="34" charset="0"/>
                <a:cs typeface="Arial" panose="020B0604020202020204" pitchFamily="34" charset="0"/>
              </a:rPr>
              <a:t>developers don’t need bespoke integration for each tool — one MCP connector works across many services.</a:t>
            </a:r>
          </a:p>
          <a:p>
            <a:pPr marL="342900" indent="-342900">
              <a:buFont typeface="Wingdings" panose="05000000000000000000" pitchFamily="2" charset="2"/>
              <a:buChar char="Ø"/>
            </a:pPr>
            <a:endParaRPr lang="en-IN" sz="24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400" dirty="0">
                <a:latin typeface="Arial" panose="020B0604020202020204" pitchFamily="34" charset="0"/>
                <a:cs typeface="Arial" panose="020B0604020202020204" pitchFamily="34" charset="0"/>
              </a:rPr>
              <a:t>Enables more powerful, context-aware AI agents: because agents can work with up-to-date external data, perform actions, and combine reasoning + tooling.</a:t>
            </a:r>
            <a:endParaRPr lang="en-US" sz="24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9969921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Works: Architecture</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C92BEE83-364B-AE97-10BD-692C69BF1637}"/>
              </a:ext>
            </a:extLst>
          </p:cNvPr>
          <p:cNvSpPr txBox="1"/>
          <p:nvPr/>
        </p:nvSpPr>
        <p:spPr>
          <a:xfrm>
            <a:off x="414818" y="1770388"/>
            <a:ext cx="11497228" cy="3693319"/>
          </a:xfrm>
          <a:prstGeom prst="rect">
            <a:avLst/>
          </a:prstGeom>
          <a:noFill/>
        </p:spPr>
        <p:txBody>
          <a:bodyPr wrap="square">
            <a:spAutoFit/>
          </a:bodyPr>
          <a:lstStyle/>
          <a:p>
            <a:pPr marL="285750" indent="-285750">
              <a:buFont typeface="Wingdings" panose="05000000000000000000" pitchFamily="2" charset="2"/>
              <a:buChar char="v"/>
            </a:pPr>
            <a:r>
              <a:rPr lang="en-IN" dirty="0">
                <a:latin typeface="Arial" panose="020B0604020202020204" pitchFamily="34" charset="0"/>
                <a:cs typeface="Arial" panose="020B0604020202020204" pitchFamily="34" charset="0"/>
              </a:rPr>
              <a:t>The MCP client/server model can be broken down into three key architectural components:</a:t>
            </a:r>
          </a:p>
          <a:p>
            <a:pPr marL="285750" indent="-285750">
              <a:buFont typeface="Wingdings" panose="05000000000000000000" pitchFamily="2" charset="2"/>
              <a:buChar char="v"/>
            </a:pPr>
            <a:endParaRPr lang="en-IN"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endParaRPr lang="en-IN"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en-IN" b="1" dirty="0">
                <a:latin typeface="Arial" panose="020B0604020202020204" pitchFamily="34" charset="0"/>
                <a:cs typeface="Arial" panose="020B0604020202020204" pitchFamily="34" charset="0"/>
              </a:rPr>
              <a:t>MCP host: </a:t>
            </a:r>
            <a:r>
              <a:rPr lang="en-IN" dirty="0">
                <a:latin typeface="Arial" panose="020B0604020202020204" pitchFamily="34" charset="0"/>
                <a:cs typeface="Arial" panose="020B0604020202020204" pitchFamily="34" charset="0"/>
              </a:rPr>
              <a:t>An AI application receives the user requests and seeks access to context through the MCP. This integration layer can include IDEs such as Cursor or Claude Desktop. It contains the orchestration logic and can connect each client to a server.</a:t>
            </a:r>
          </a:p>
          <a:p>
            <a:pPr marL="285750" indent="-285750">
              <a:buFont typeface="Wingdings" panose="05000000000000000000" pitchFamily="2" charset="2"/>
              <a:buChar char="v"/>
            </a:pPr>
            <a:endParaRPr lang="en-IN" dirty="0">
              <a:latin typeface="Arial" panose="020B0604020202020204" pitchFamily="34" charset="0"/>
              <a:ea typeface="Tahoma" panose="020B0604030504040204" pitchFamily="34" charset="0"/>
              <a:cs typeface="Arial" panose="020B0604020202020204" pitchFamily="34" charset="0"/>
            </a:endParaRPr>
          </a:p>
          <a:p>
            <a:pPr marL="285750" indent="-285750">
              <a:buFont typeface="Wingdings" panose="05000000000000000000" pitchFamily="2" charset="2"/>
              <a:buChar char="v"/>
            </a:pPr>
            <a:endParaRPr lang="en-US" dirty="0">
              <a:latin typeface="Arial" panose="020B0604020202020204" pitchFamily="34" charset="0"/>
              <a:ea typeface="Tahoma" panose="020B0604030504040204" pitchFamily="34" charset="0"/>
              <a:cs typeface="Arial" panose="020B0604020202020204" pitchFamily="34" charset="0"/>
            </a:endParaRPr>
          </a:p>
          <a:p>
            <a:pPr marL="285750" indent="-285750">
              <a:buFont typeface="Wingdings" panose="05000000000000000000" pitchFamily="2" charset="2"/>
              <a:buChar char="v"/>
            </a:pPr>
            <a:r>
              <a:rPr lang="en-IN" b="1" dirty="0">
                <a:latin typeface="Arial" panose="020B0604020202020204" pitchFamily="34" charset="0"/>
                <a:cs typeface="Arial" panose="020B0604020202020204" pitchFamily="34" charset="0"/>
              </a:rPr>
              <a:t>MCP client: </a:t>
            </a:r>
            <a:r>
              <a:rPr lang="en-IN" dirty="0">
                <a:latin typeface="Arial" panose="020B0604020202020204" pitchFamily="34" charset="0"/>
                <a:cs typeface="Arial" panose="020B0604020202020204" pitchFamily="34" charset="0"/>
              </a:rPr>
              <a:t>Communication in the MCP ecosystem between the host and server must go through a client. This client exists within the host and converts user requests into a structured format that the open protocol can process. Multiple clients can exist with a singular MCP host but each client has a 1:1 relationship with an MCP server.</a:t>
            </a:r>
            <a:endParaRPr lang="en-IN" b="1" baseline="300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endParaRPr lang="en-IN"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76822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Works: Architecture</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C92BEE83-364B-AE97-10BD-692C69BF1637}"/>
              </a:ext>
            </a:extLst>
          </p:cNvPr>
          <p:cNvSpPr txBox="1"/>
          <p:nvPr/>
        </p:nvSpPr>
        <p:spPr>
          <a:xfrm>
            <a:off x="414818" y="1770388"/>
            <a:ext cx="11497228" cy="3416320"/>
          </a:xfrm>
          <a:prstGeom prst="rect">
            <a:avLst/>
          </a:prstGeom>
          <a:noFill/>
        </p:spPr>
        <p:txBody>
          <a:bodyPr wrap="square">
            <a:spAutoFit/>
          </a:bodyPr>
          <a:lstStyle/>
          <a:p>
            <a:r>
              <a:rPr lang="en-IN" b="1" dirty="0"/>
              <a:t>MCP server: </a:t>
            </a:r>
            <a:r>
              <a:rPr lang="en-IN" dirty="0"/>
              <a:t>The external service that provides the context to the LLM by converting user requests to server actions. Examples of MCP server integrations include Slack, GitHub, Git, Docker or web search. These servers are typically GitHub repositories available in various programming languages (C#, Java™, TypeScript, Python and others) and provide access to MCP tools.</a:t>
            </a:r>
          </a:p>
          <a:p>
            <a:endParaRPr lang="en-IN" b="1" dirty="0"/>
          </a:p>
          <a:p>
            <a:pPr lvl="1" fontAlgn="base"/>
            <a:r>
              <a:rPr lang="en-IN" b="1" dirty="0"/>
              <a:t>Resources</a:t>
            </a:r>
            <a:r>
              <a:rPr lang="en-IN" dirty="0"/>
              <a:t>: Information retrieval from internal or external databases. Resources return data but do not execute actionable computations.</a:t>
            </a:r>
          </a:p>
          <a:p>
            <a:pPr lvl="1" fontAlgn="base"/>
            <a:endParaRPr lang="en-IN" dirty="0"/>
          </a:p>
          <a:p>
            <a:pPr lvl="1" fontAlgn="base"/>
            <a:r>
              <a:rPr lang="en-IN" b="1" dirty="0"/>
              <a:t>Tools</a:t>
            </a:r>
            <a:r>
              <a:rPr lang="en-IN" dirty="0"/>
              <a:t>: Information exchange with tools that can perform a side effect such as a calculation or fetch data through an API request.</a:t>
            </a:r>
          </a:p>
          <a:p>
            <a:pPr lvl="1" fontAlgn="base"/>
            <a:endParaRPr lang="en-IN" dirty="0"/>
          </a:p>
          <a:p>
            <a:pPr lvl="1" fontAlgn="base"/>
            <a:r>
              <a:rPr lang="en-IN" b="1" dirty="0"/>
              <a:t>Prompts</a:t>
            </a:r>
            <a:r>
              <a:rPr lang="en-IN" dirty="0"/>
              <a:t>: Reusable templates and workflows for LLM-server communication.</a:t>
            </a:r>
          </a:p>
        </p:txBody>
      </p:sp>
    </p:spTree>
    <p:extLst>
      <p:ext uri="{BB962C8B-B14F-4D97-AF65-F5344CB8AC3E}">
        <p14:creationId xmlns:p14="http://schemas.microsoft.com/office/powerpoint/2010/main" val="11282566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Works: Architecture</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Content Placeholder 7">
            <a:extLst>
              <a:ext uri="{FF2B5EF4-FFF2-40B4-BE49-F238E27FC236}">
                <a16:creationId xmlns:a16="http://schemas.microsoft.com/office/drawing/2014/main" id="{B11FB4DD-712E-105C-00BD-1085EBFA93D5}"/>
              </a:ext>
            </a:extLst>
          </p:cNvPr>
          <p:cNvPicPr>
            <a:picLocks noChangeAspect="1"/>
          </p:cNvPicPr>
          <p:nvPr/>
        </p:nvPicPr>
        <p:blipFill>
          <a:blip r:embed="rId4"/>
          <a:stretch>
            <a:fillRect/>
          </a:stretch>
        </p:blipFill>
        <p:spPr>
          <a:xfrm>
            <a:off x="914400" y="1551103"/>
            <a:ext cx="9723863" cy="4224222"/>
          </a:xfrm>
          <a:prstGeom prst="rect">
            <a:avLst/>
          </a:prstGeom>
        </p:spPr>
      </p:pic>
    </p:spTree>
    <p:extLst>
      <p:ext uri="{BB962C8B-B14F-4D97-AF65-F5344CB8AC3E}">
        <p14:creationId xmlns:p14="http://schemas.microsoft.com/office/powerpoint/2010/main" val="3356716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MCP Works: Data Flow</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F87DB8A1-9D74-8B08-2631-94182EB61769}"/>
              </a:ext>
            </a:extLst>
          </p:cNvPr>
          <p:cNvSpPr txBox="1">
            <a:spLocks/>
          </p:cNvSpPr>
          <p:nvPr/>
        </p:nvSpPr>
        <p:spPr>
          <a:xfrm>
            <a:off x="468110" y="2184846"/>
            <a:ext cx="11223695" cy="2956735"/>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IN" sz="2000" b="1" dirty="0">
                <a:latin typeface="Arial" panose="020B0604020202020204" pitchFamily="34" charset="0"/>
                <a:cs typeface="Arial" panose="020B0604020202020204" pitchFamily="34" charset="0"/>
              </a:rPr>
              <a:t>Agent (MCP client) </a:t>
            </a:r>
            <a:r>
              <a:rPr lang="en-IN" sz="2000" dirty="0">
                <a:latin typeface="Arial" panose="020B0604020202020204" pitchFamily="34" charset="0"/>
                <a:cs typeface="Arial" panose="020B0604020202020204" pitchFamily="34" charset="0"/>
              </a:rPr>
              <a:t>→ sends request via MCP protocol → MCP server (tool/data provider) → server executes tool or returns data → returns response via MCP → agent receives &amp; uses data.</a:t>
            </a:r>
          </a:p>
          <a:p>
            <a:endParaRPr lang="en-IN" sz="2000" dirty="0">
              <a:latin typeface="Arial" panose="020B0604020202020204" pitchFamily="34" charset="0"/>
              <a:cs typeface="Arial" panose="020B0604020202020204" pitchFamily="34" charset="0"/>
            </a:endParaRPr>
          </a:p>
          <a:p>
            <a:endParaRPr lang="en-IN" sz="2000" dirty="0">
              <a:latin typeface="Arial" panose="020B0604020202020204" pitchFamily="34" charset="0"/>
              <a:cs typeface="Arial" panose="020B0604020202020204" pitchFamily="34" charset="0"/>
            </a:endParaRPr>
          </a:p>
          <a:p>
            <a:endParaRPr lang="en-IN" sz="2000" dirty="0">
              <a:latin typeface="Arial" panose="020B0604020202020204" pitchFamily="34" charset="0"/>
              <a:cs typeface="Arial" panose="020B0604020202020204" pitchFamily="34" charset="0"/>
            </a:endParaRPr>
          </a:p>
          <a:p>
            <a:r>
              <a:rPr lang="en-IN" sz="2000" dirty="0">
                <a:latin typeface="Arial" panose="020B0604020202020204" pitchFamily="34" charset="0"/>
                <a:cs typeface="Arial" panose="020B0604020202020204" pitchFamily="34" charset="0"/>
              </a:rPr>
              <a:t>Protocol is </a:t>
            </a:r>
            <a:r>
              <a:rPr lang="en-IN" sz="2000" b="1" dirty="0">
                <a:latin typeface="Arial" panose="020B0604020202020204" pitchFamily="34" charset="0"/>
                <a:cs typeface="Arial" panose="020B0604020202020204" pitchFamily="34" charset="0"/>
              </a:rPr>
              <a:t>transport-agnostic</a:t>
            </a:r>
            <a:r>
              <a:rPr lang="en-IN" sz="2000" dirty="0">
                <a:latin typeface="Arial" panose="020B0604020202020204" pitchFamily="34" charset="0"/>
                <a:cs typeface="Arial" panose="020B0604020202020204" pitchFamily="34" charset="0"/>
              </a:rPr>
              <a:t>: can work over HTTP, </a:t>
            </a:r>
            <a:r>
              <a:rPr lang="en-IN" sz="2000" dirty="0" err="1">
                <a:latin typeface="Arial" panose="020B0604020202020204" pitchFamily="34" charset="0"/>
                <a:cs typeface="Arial" panose="020B0604020202020204" pitchFamily="34" charset="0"/>
              </a:rPr>
              <a:t>WebSockets</a:t>
            </a:r>
            <a:r>
              <a:rPr lang="en-IN" sz="2000" dirty="0">
                <a:latin typeface="Arial" panose="020B0604020202020204" pitchFamily="34" charset="0"/>
                <a:cs typeface="Arial" panose="020B0604020202020204" pitchFamily="34" charset="0"/>
              </a:rPr>
              <a:t>, </a:t>
            </a:r>
            <a:r>
              <a:rPr lang="en-IN" sz="2000" dirty="0" err="1">
                <a:latin typeface="Arial" panose="020B0604020202020204" pitchFamily="34" charset="0"/>
                <a:cs typeface="Arial" panose="020B0604020202020204" pitchFamily="34" charset="0"/>
              </a:rPr>
              <a:t>gRPC</a:t>
            </a:r>
            <a:r>
              <a:rPr lang="en-IN" sz="2000" dirty="0">
                <a:latin typeface="Arial" panose="020B0604020202020204" pitchFamily="34" charset="0"/>
                <a:cs typeface="Arial" panose="020B0604020202020204" pitchFamily="34" charset="0"/>
              </a:rPr>
              <a:t> — flexible across environments</a:t>
            </a:r>
          </a:p>
          <a:p>
            <a:r>
              <a:rPr lang="en-IN" sz="2000" dirty="0">
                <a:latin typeface="Arial" panose="020B0604020202020204" pitchFamily="34" charset="0"/>
                <a:cs typeface="Arial" panose="020B0604020202020204" pitchFamily="34" charset="0"/>
              </a:rPr>
              <a:t>Ensures type-safe, structured data exchange — enables reliable, repeatable integrations, reduces custom API-by-API work. </a:t>
            </a:r>
            <a:endParaRPr lang="en-US" sz="20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0442355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dvantages of MCP</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F87DB8A1-9D74-8B08-2631-94182EB61769}"/>
              </a:ext>
            </a:extLst>
          </p:cNvPr>
          <p:cNvSpPr txBox="1">
            <a:spLocks/>
          </p:cNvSpPr>
          <p:nvPr/>
        </p:nvSpPr>
        <p:spPr>
          <a:xfrm>
            <a:off x="468110" y="2184846"/>
            <a:ext cx="11223695" cy="2956735"/>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60000"/>
              </a:lnSpc>
            </a:pPr>
            <a:endParaRPr lang="en-US" sz="1600" dirty="0">
              <a:latin typeface="Arial" panose="020B0604020202020204" pitchFamily="34" charset="0"/>
              <a:ea typeface="Tahoma" panose="020B0604030504040204" pitchFamily="34" charset="0"/>
              <a:cs typeface="Arial" panose="020B0604020202020204" pitchFamily="34" charset="0"/>
            </a:endParaRPr>
          </a:p>
        </p:txBody>
      </p:sp>
      <p:sp>
        <p:nvSpPr>
          <p:cNvPr id="5" name="TextBox 4">
            <a:extLst>
              <a:ext uri="{FF2B5EF4-FFF2-40B4-BE49-F238E27FC236}">
                <a16:creationId xmlns:a16="http://schemas.microsoft.com/office/drawing/2014/main" id="{0F124A66-A69A-8D86-E012-B7AAE9656F1E}"/>
              </a:ext>
            </a:extLst>
          </p:cNvPr>
          <p:cNvSpPr txBox="1"/>
          <p:nvPr/>
        </p:nvSpPr>
        <p:spPr>
          <a:xfrm>
            <a:off x="513446" y="1399099"/>
            <a:ext cx="11106691" cy="4528227"/>
          </a:xfrm>
          <a:prstGeom prst="rect">
            <a:avLst/>
          </a:prstGeom>
          <a:noFill/>
        </p:spPr>
        <p:txBody>
          <a:bodyPr wrap="square">
            <a:spAutoFit/>
          </a:bodyPr>
          <a:lstStyle/>
          <a:p>
            <a:pPr>
              <a:lnSpc>
                <a:spcPct val="160000"/>
              </a:lnSpc>
            </a:pPr>
            <a:r>
              <a:rPr lang="en-IN" sz="1400" b="1" dirty="0">
                <a:latin typeface="Arial" panose="020B0604020202020204" pitchFamily="34" charset="0"/>
                <a:cs typeface="Arial" panose="020B0604020202020204" pitchFamily="34" charset="0"/>
              </a:rPr>
              <a:t>Scale: </a:t>
            </a:r>
            <a:r>
              <a:rPr lang="en-IN" sz="1400" dirty="0">
                <a:latin typeface="Arial" panose="020B0604020202020204" pitchFamily="34" charset="0"/>
                <a:cs typeface="Arial" panose="020B0604020202020204" pitchFamily="34" charset="0"/>
              </a:rPr>
              <a:t>MCP servers can be defined and hosted once and used by many AI systems. This capacity limits the need to define access to the same source data, resources and AI tools for multiple generative AI systems.</a:t>
            </a:r>
          </a:p>
          <a:p>
            <a:pPr>
              <a:lnSpc>
                <a:spcPct val="160000"/>
              </a:lnSpc>
            </a:pPr>
            <a:r>
              <a:rPr lang="en-IN" sz="1400" b="1" dirty="0">
                <a:latin typeface="Arial" panose="020B0604020202020204" pitchFamily="34" charset="0"/>
                <a:cs typeface="Arial" panose="020B0604020202020204" pitchFamily="34" charset="0"/>
              </a:rPr>
              <a:t>Data retrieval: </a:t>
            </a:r>
            <a:r>
              <a:rPr lang="en-IN" sz="1400" dirty="0">
                <a:latin typeface="Arial" panose="020B0604020202020204" pitchFamily="34" charset="0"/>
                <a:cs typeface="Arial" panose="020B0604020202020204" pitchFamily="34" charset="0"/>
              </a:rPr>
              <a:t>Unlike RAG where data retrieval requires preprocessing and vectorizing before query, MCP is dynamic and allows for fluctuations and updates from information sources in real-time.</a:t>
            </a:r>
          </a:p>
          <a:p>
            <a:pPr>
              <a:lnSpc>
                <a:spcPct val="160000"/>
              </a:lnSpc>
            </a:pPr>
            <a:r>
              <a:rPr lang="en-IN" sz="1400" b="1" dirty="0">
                <a:latin typeface="Arial" panose="020B0604020202020204" pitchFamily="34" charset="0"/>
                <a:cs typeface="Arial" panose="020B0604020202020204" pitchFamily="34" charset="0"/>
              </a:rPr>
              <a:t>Complexity: </a:t>
            </a:r>
            <a:r>
              <a:rPr lang="en-IN" sz="1400" dirty="0">
                <a:latin typeface="Arial" panose="020B0604020202020204" pitchFamily="34" charset="0"/>
                <a:cs typeface="Arial" panose="020B0604020202020204" pitchFamily="34" charset="0"/>
              </a:rPr>
              <a:t>MCP is fairly simple to setup and incorporate into AI applications, as we demonstrate here. You can use config files easily to make an MCP server portable across environments.</a:t>
            </a:r>
          </a:p>
          <a:p>
            <a:pPr>
              <a:lnSpc>
                <a:spcPct val="160000"/>
              </a:lnSpc>
            </a:pPr>
            <a:r>
              <a:rPr lang="en-IN" sz="1400" b="1" dirty="0">
                <a:latin typeface="Arial" panose="020B0604020202020204" pitchFamily="34" charset="0"/>
                <a:cs typeface="Arial" panose="020B0604020202020204" pitchFamily="34" charset="0"/>
              </a:rPr>
              <a:t>Platform-independent: </a:t>
            </a:r>
            <a:r>
              <a:rPr lang="en-IN" sz="1400" dirty="0">
                <a:latin typeface="Arial" panose="020B0604020202020204" pitchFamily="34" charset="0"/>
                <a:cs typeface="Arial" panose="020B0604020202020204" pitchFamily="34" charset="0"/>
              </a:rPr>
              <a:t>Beyond the fact that you can build MCP servers with Python, TypeScript or other languages, they are also not coupled to a specific LLM solution.</a:t>
            </a:r>
          </a:p>
          <a:p>
            <a:pPr>
              <a:lnSpc>
                <a:spcPct val="160000"/>
              </a:lnSpc>
            </a:pPr>
            <a:r>
              <a:rPr lang="en-IN" sz="1400" b="1" dirty="0">
                <a:latin typeface="Arial" panose="020B0604020202020204" pitchFamily="34" charset="0"/>
                <a:cs typeface="Arial" panose="020B0604020202020204" pitchFamily="34" charset="0"/>
              </a:rPr>
              <a:t>Debugging through a client/server model: </a:t>
            </a:r>
            <a:r>
              <a:rPr lang="en-IN" sz="1400" dirty="0">
                <a:latin typeface="Arial" panose="020B0604020202020204" pitchFamily="34" charset="0"/>
                <a:cs typeface="Arial" panose="020B0604020202020204" pitchFamily="34" charset="0"/>
              </a:rPr>
              <a:t>The MCP client sends requests to the MCP server, which then fetches the necessary data from various external systems and sources—be it APIs, databases or local files. This structured approach ensures that the AI model receives consistent and relevant context, leading to more accurate and reliable outputs. MCP uses JSON-RPC to encode messages and supports 2 transport mechanisms, </a:t>
            </a:r>
            <a:r>
              <a:rPr lang="en-IN" sz="1400" dirty="0" err="1">
                <a:latin typeface="Arial" panose="020B0604020202020204" pitchFamily="34" charset="0"/>
                <a:cs typeface="Arial" panose="020B0604020202020204" pitchFamily="34" charset="0"/>
              </a:rPr>
              <a:t>stdio</a:t>
            </a:r>
            <a:r>
              <a:rPr lang="en-IN" sz="1400" dirty="0">
                <a:latin typeface="Arial" panose="020B0604020202020204" pitchFamily="34" charset="0"/>
                <a:cs typeface="Arial" panose="020B0604020202020204" pitchFamily="34" charset="0"/>
              </a:rPr>
              <a:t> and </a:t>
            </a:r>
            <a:r>
              <a:rPr lang="en-IN" sz="1400" dirty="0" err="1">
                <a:latin typeface="Arial" panose="020B0604020202020204" pitchFamily="34" charset="0"/>
                <a:cs typeface="Arial" panose="020B0604020202020204" pitchFamily="34" charset="0"/>
              </a:rPr>
              <a:t>streamable</a:t>
            </a:r>
            <a:r>
              <a:rPr lang="en-IN" sz="1400" dirty="0">
                <a:latin typeface="Arial" panose="020B0604020202020204" pitchFamily="34" charset="0"/>
                <a:cs typeface="Arial" panose="020B0604020202020204" pitchFamily="34" charset="0"/>
              </a:rPr>
              <a:t> HTTP. In previous iterations of the protocol, it also supported HTTP with server-sent events (SSE)</a:t>
            </a:r>
            <a:endParaRPr lang="en-US" sz="14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42246773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y MCP Matters: Benefits &amp; Use-Case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F87DB8A1-9D74-8B08-2631-94182EB61769}"/>
              </a:ext>
            </a:extLst>
          </p:cNvPr>
          <p:cNvSpPr txBox="1">
            <a:spLocks/>
          </p:cNvSpPr>
          <p:nvPr/>
        </p:nvSpPr>
        <p:spPr>
          <a:xfrm>
            <a:off x="468110" y="2184846"/>
            <a:ext cx="11223695" cy="2956735"/>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60000"/>
              </a:lnSpc>
            </a:pPr>
            <a:endParaRPr lang="en-US" sz="1600" dirty="0">
              <a:latin typeface="Arial" panose="020B0604020202020204" pitchFamily="34" charset="0"/>
              <a:ea typeface="Tahoma" panose="020B0604030504040204" pitchFamily="34" charset="0"/>
              <a:cs typeface="Arial" panose="020B0604020202020204" pitchFamily="34" charset="0"/>
            </a:endParaRPr>
          </a:p>
        </p:txBody>
      </p:sp>
      <p:sp>
        <p:nvSpPr>
          <p:cNvPr id="5" name="TextBox 4">
            <a:extLst>
              <a:ext uri="{FF2B5EF4-FFF2-40B4-BE49-F238E27FC236}">
                <a16:creationId xmlns:a16="http://schemas.microsoft.com/office/drawing/2014/main" id="{0F124A66-A69A-8D86-E012-B7AAE9656F1E}"/>
              </a:ext>
            </a:extLst>
          </p:cNvPr>
          <p:cNvSpPr txBox="1"/>
          <p:nvPr/>
        </p:nvSpPr>
        <p:spPr>
          <a:xfrm>
            <a:off x="500195" y="2078163"/>
            <a:ext cx="11106691" cy="3170099"/>
          </a:xfrm>
          <a:prstGeom prst="rect">
            <a:avLst/>
          </a:prstGeom>
          <a:noFill/>
        </p:spPr>
        <p:txBody>
          <a:bodyPr wrap="square">
            <a:spAutoFit/>
          </a:bodyPr>
          <a:lstStyle/>
          <a:p>
            <a:r>
              <a:rPr lang="en-IN" sz="2000" dirty="0">
                <a:latin typeface="Arial" panose="020B0604020202020204" pitchFamily="34" charset="0"/>
                <a:cs typeface="Arial" panose="020B0604020202020204" pitchFamily="34" charset="0"/>
              </a:rPr>
              <a:t>Makes it easy to build AI agents that are tool-aware and data-aware — can query databases, call APIs, fetch live data, control other services.</a:t>
            </a:r>
          </a:p>
          <a:p>
            <a:endParaRPr lang="en-IN" sz="2000" dirty="0">
              <a:latin typeface="Arial" panose="020B0604020202020204" pitchFamily="34" charset="0"/>
              <a:cs typeface="Arial" panose="020B0604020202020204" pitchFamily="34" charset="0"/>
            </a:endParaRPr>
          </a:p>
          <a:p>
            <a:endParaRPr lang="en-IN" sz="2000" dirty="0">
              <a:latin typeface="Arial" panose="020B0604020202020204" pitchFamily="34" charset="0"/>
              <a:cs typeface="Arial" panose="020B0604020202020204" pitchFamily="34" charset="0"/>
            </a:endParaRPr>
          </a:p>
          <a:p>
            <a:r>
              <a:rPr lang="en-IN" sz="2000" dirty="0">
                <a:latin typeface="Arial" panose="020B0604020202020204" pitchFamily="34" charset="0"/>
                <a:cs typeface="Arial" panose="020B0604020202020204" pitchFamily="34" charset="0"/>
              </a:rPr>
              <a:t>Promotes </a:t>
            </a:r>
            <a:r>
              <a:rPr lang="en-IN" sz="2000" b="1" dirty="0">
                <a:latin typeface="Arial" panose="020B0604020202020204" pitchFamily="34" charset="0"/>
                <a:cs typeface="Arial" panose="020B0604020202020204" pitchFamily="34" charset="0"/>
              </a:rPr>
              <a:t>modularity and reusability</a:t>
            </a:r>
            <a:r>
              <a:rPr lang="en-IN" sz="2000" dirty="0">
                <a:latin typeface="Arial" panose="020B0604020202020204" pitchFamily="34" charset="0"/>
                <a:cs typeface="Arial" panose="020B0604020202020204" pitchFamily="34" charset="0"/>
              </a:rPr>
              <a:t> — same MCP server/tool can be used by different agents, reducing duplication. </a:t>
            </a:r>
          </a:p>
          <a:p>
            <a:endParaRPr lang="en-IN" sz="2000" dirty="0">
              <a:latin typeface="Arial" panose="020B0604020202020204" pitchFamily="34" charset="0"/>
              <a:cs typeface="Arial" panose="020B0604020202020204" pitchFamily="34" charset="0"/>
            </a:endParaRPr>
          </a:p>
          <a:p>
            <a:endParaRPr lang="en-IN" sz="2000" dirty="0">
              <a:latin typeface="Arial" panose="020B0604020202020204" pitchFamily="34" charset="0"/>
              <a:cs typeface="Arial" panose="020B0604020202020204" pitchFamily="34" charset="0"/>
            </a:endParaRPr>
          </a:p>
          <a:p>
            <a:r>
              <a:rPr lang="en-IN" sz="2000" dirty="0">
                <a:latin typeface="Arial" panose="020B0604020202020204" pitchFamily="34" charset="0"/>
                <a:cs typeface="Arial" panose="020B0604020202020204" pitchFamily="34" charset="0"/>
              </a:rPr>
              <a:t>Makes agents </a:t>
            </a:r>
            <a:r>
              <a:rPr lang="en-IN" sz="2000" b="1" dirty="0">
                <a:latin typeface="Arial" panose="020B0604020202020204" pitchFamily="34" charset="0"/>
                <a:cs typeface="Arial" panose="020B0604020202020204" pitchFamily="34" charset="0"/>
              </a:rPr>
              <a:t>environment-agnostic and interoperable</a:t>
            </a:r>
            <a:r>
              <a:rPr lang="en-IN" sz="2000" dirty="0">
                <a:latin typeface="Arial" panose="020B0604020202020204" pitchFamily="34" charset="0"/>
                <a:cs typeface="Arial" panose="020B0604020202020204" pitchFamily="34" charset="0"/>
              </a:rPr>
              <a:t> — easier to integrate into enterprise stacks that rely on diverse tools, databases, services.</a:t>
            </a:r>
            <a:endParaRPr lang="en-US" sz="20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1312754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656930"/>
              <a:ext cx="8174476" cy="4347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How A2A and MCP Complement Each Other</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3492002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2A vs MCP: What Each Does (Compariso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F87DB8A1-9D74-8B08-2631-94182EB61769}"/>
              </a:ext>
            </a:extLst>
          </p:cNvPr>
          <p:cNvSpPr txBox="1">
            <a:spLocks/>
          </p:cNvSpPr>
          <p:nvPr/>
        </p:nvSpPr>
        <p:spPr>
          <a:xfrm>
            <a:off x="468110" y="2184846"/>
            <a:ext cx="11223695" cy="2956735"/>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60000"/>
              </a:lnSpc>
            </a:pPr>
            <a:endParaRPr lang="en-US" sz="1600" dirty="0">
              <a:latin typeface="Arial" panose="020B0604020202020204" pitchFamily="34" charset="0"/>
              <a:ea typeface="Tahoma" panose="020B0604030504040204" pitchFamily="34" charset="0"/>
              <a:cs typeface="Arial" panose="020B0604020202020204" pitchFamily="34" charset="0"/>
            </a:endParaRPr>
          </a:p>
        </p:txBody>
      </p:sp>
      <p:sp>
        <p:nvSpPr>
          <p:cNvPr id="2" name="Content Placeholder 2">
            <a:extLst>
              <a:ext uri="{FF2B5EF4-FFF2-40B4-BE49-F238E27FC236}">
                <a16:creationId xmlns:a16="http://schemas.microsoft.com/office/drawing/2014/main" id="{FD1806AB-D838-DAEA-4274-967B1F3D2F76}"/>
              </a:ext>
            </a:extLst>
          </p:cNvPr>
          <p:cNvSpPr txBox="1">
            <a:spLocks/>
          </p:cNvSpPr>
          <p:nvPr/>
        </p:nvSpPr>
        <p:spPr>
          <a:xfrm>
            <a:off x="787442" y="4525020"/>
            <a:ext cx="10571998" cy="1414781"/>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IN" b="1"/>
              <a:t>A2A</a:t>
            </a:r>
            <a:r>
              <a:rPr lang="en-IN"/>
              <a:t> = “network cable / messaging bus between agents”, for agent-to-agent info/task exchange.</a:t>
            </a:r>
          </a:p>
          <a:p>
            <a:r>
              <a:rPr lang="en-IN" b="1"/>
              <a:t>MCP</a:t>
            </a:r>
            <a:r>
              <a:rPr lang="en-IN"/>
              <a:t> = “USB-C / universal connector” for agents to reach tools, data, external systems — enabling them to act meaningfully on real-world tasks.</a:t>
            </a:r>
            <a:endParaRPr lang="en-IN" dirty="0"/>
          </a:p>
        </p:txBody>
      </p:sp>
      <p:graphicFrame>
        <p:nvGraphicFramePr>
          <p:cNvPr id="7" name="Table 6">
            <a:extLst>
              <a:ext uri="{FF2B5EF4-FFF2-40B4-BE49-F238E27FC236}">
                <a16:creationId xmlns:a16="http://schemas.microsoft.com/office/drawing/2014/main" id="{71BFD7C9-7BD6-94F1-7C7F-ED5D619728B1}"/>
              </a:ext>
            </a:extLst>
          </p:cNvPr>
          <p:cNvGraphicFramePr>
            <a:graphicFrameLocks noGrp="1"/>
          </p:cNvGraphicFramePr>
          <p:nvPr>
            <p:extLst>
              <p:ext uri="{D42A27DB-BD31-4B8C-83A1-F6EECF244321}">
                <p14:modId xmlns:p14="http://schemas.microsoft.com/office/powerpoint/2010/main" val="3699372579"/>
              </p:ext>
            </p:extLst>
          </p:nvPr>
        </p:nvGraphicFramePr>
        <p:xfrm>
          <a:off x="787066" y="1905000"/>
          <a:ext cx="10563224" cy="1920240"/>
        </p:xfrm>
        <a:graphic>
          <a:graphicData uri="http://schemas.openxmlformats.org/drawingml/2006/table">
            <a:tbl>
              <a:tblPr>
                <a:tableStyleId>{BDBED569-4797-4DF1-A0F4-6AAB3CD982D8}</a:tableStyleId>
              </a:tblPr>
              <a:tblGrid>
                <a:gridCol w="1211086">
                  <a:extLst>
                    <a:ext uri="{9D8B030D-6E8A-4147-A177-3AD203B41FA5}">
                      <a16:colId xmlns:a16="http://schemas.microsoft.com/office/drawing/2014/main" val="4167087454"/>
                    </a:ext>
                  </a:extLst>
                </a:gridCol>
                <a:gridCol w="2607045">
                  <a:extLst>
                    <a:ext uri="{9D8B030D-6E8A-4147-A177-3AD203B41FA5}">
                      <a16:colId xmlns:a16="http://schemas.microsoft.com/office/drawing/2014/main" val="3208085280"/>
                    </a:ext>
                  </a:extLst>
                </a:gridCol>
                <a:gridCol w="2472955">
                  <a:extLst>
                    <a:ext uri="{9D8B030D-6E8A-4147-A177-3AD203B41FA5}">
                      <a16:colId xmlns:a16="http://schemas.microsoft.com/office/drawing/2014/main" val="2079676410"/>
                    </a:ext>
                  </a:extLst>
                </a:gridCol>
                <a:gridCol w="4272138">
                  <a:extLst>
                    <a:ext uri="{9D8B030D-6E8A-4147-A177-3AD203B41FA5}">
                      <a16:colId xmlns:a16="http://schemas.microsoft.com/office/drawing/2014/main" val="3235077335"/>
                    </a:ext>
                  </a:extLst>
                </a:gridCol>
              </a:tblGrid>
              <a:tr h="0">
                <a:tc>
                  <a:txBody>
                    <a:bodyPr/>
                    <a:lstStyle/>
                    <a:p>
                      <a:pPr>
                        <a:buNone/>
                      </a:pPr>
                      <a:r>
                        <a:rPr lang="en-IN" b="1" dirty="0"/>
                        <a:t>Protocol</a:t>
                      </a:r>
                    </a:p>
                  </a:txBody>
                  <a:tcPr anchor="ctr">
                    <a:solidFill>
                      <a:schemeClr val="accent5">
                        <a:lumMod val="20000"/>
                        <a:lumOff val="80000"/>
                      </a:schemeClr>
                    </a:solidFill>
                  </a:tcPr>
                </a:tc>
                <a:tc>
                  <a:txBody>
                    <a:bodyPr/>
                    <a:lstStyle/>
                    <a:p>
                      <a:pPr>
                        <a:buNone/>
                      </a:pPr>
                      <a:r>
                        <a:rPr lang="en-IN" b="1" dirty="0"/>
                        <a:t>Core Purpose</a:t>
                      </a:r>
                    </a:p>
                  </a:txBody>
                  <a:tcPr anchor="ctr">
                    <a:solidFill>
                      <a:schemeClr val="accent5">
                        <a:lumMod val="20000"/>
                        <a:lumOff val="80000"/>
                      </a:schemeClr>
                    </a:solidFill>
                  </a:tcPr>
                </a:tc>
                <a:tc>
                  <a:txBody>
                    <a:bodyPr/>
                    <a:lstStyle/>
                    <a:p>
                      <a:pPr>
                        <a:buNone/>
                      </a:pPr>
                      <a:r>
                        <a:rPr lang="en-IN" b="1" dirty="0"/>
                        <a:t>Operates On...</a:t>
                      </a:r>
                    </a:p>
                  </a:txBody>
                  <a:tcPr anchor="ctr">
                    <a:solidFill>
                      <a:schemeClr val="accent5">
                        <a:lumMod val="20000"/>
                        <a:lumOff val="80000"/>
                      </a:schemeClr>
                    </a:solidFill>
                  </a:tcPr>
                </a:tc>
                <a:tc>
                  <a:txBody>
                    <a:bodyPr/>
                    <a:lstStyle/>
                    <a:p>
                      <a:pPr>
                        <a:buNone/>
                      </a:pPr>
                      <a:r>
                        <a:rPr lang="en-IN" b="1" dirty="0"/>
                        <a:t>Key Strength</a:t>
                      </a:r>
                    </a:p>
                  </a:txBody>
                  <a:tcPr anchor="ctr">
                    <a:solidFill>
                      <a:schemeClr val="accent5">
                        <a:lumMod val="20000"/>
                        <a:lumOff val="80000"/>
                      </a:schemeClr>
                    </a:solidFill>
                  </a:tcPr>
                </a:tc>
                <a:extLst>
                  <a:ext uri="{0D108BD9-81ED-4DB2-BD59-A6C34878D82A}">
                    <a16:rowId xmlns:a16="http://schemas.microsoft.com/office/drawing/2014/main" val="2354713379"/>
                  </a:ext>
                </a:extLst>
              </a:tr>
              <a:tr h="0">
                <a:tc>
                  <a:txBody>
                    <a:bodyPr/>
                    <a:lstStyle/>
                    <a:p>
                      <a:pPr>
                        <a:buNone/>
                      </a:pPr>
                      <a:r>
                        <a:rPr lang="en-IN" b="1"/>
                        <a:t>A2A</a:t>
                      </a:r>
                      <a:endParaRPr lang="en-IN"/>
                    </a:p>
                  </a:txBody>
                  <a:tcPr anchor="ctr"/>
                </a:tc>
                <a:tc>
                  <a:txBody>
                    <a:bodyPr/>
                    <a:lstStyle/>
                    <a:p>
                      <a:pPr>
                        <a:buNone/>
                      </a:pPr>
                      <a:r>
                        <a:rPr lang="en-IN" dirty="0"/>
                        <a:t>Agent-to-Agent communication &amp; coordination</a:t>
                      </a:r>
                    </a:p>
                  </a:txBody>
                  <a:tcPr anchor="ctr"/>
                </a:tc>
                <a:tc>
                  <a:txBody>
                    <a:bodyPr/>
                    <a:lstStyle/>
                    <a:p>
                      <a:pPr>
                        <a:buNone/>
                      </a:pPr>
                      <a:r>
                        <a:rPr lang="en-IN"/>
                        <a:t>Between agents (peer-to-peer)</a:t>
                      </a:r>
                    </a:p>
                  </a:txBody>
                  <a:tcPr anchor="ctr"/>
                </a:tc>
                <a:tc>
                  <a:txBody>
                    <a:bodyPr/>
                    <a:lstStyle/>
                    <a:p>
                      <a:pPr>
                        <a:buNone/>
                      </a:pPr>
                      <a:r>
                        <a:rPr lang="en-IN"/>
                        <a:t>Collaboration, multi-agent workflows, specialization, coordination (</a:t>
                      </a:r>
                      <a:r>
                        <a:rPr lang="en-IN">
                          <a:hlinkClick r:id="rId4" tooltip="Building AI Agents? A2A vs. MCP Explained Simply"/>
                        </a:rPr>
                        <a:t>KDnuggets</a:t>
                      </a:r>
                      <a:r>
                        <a:rPr lang="en-IN"/>
                        <a:t>)</a:t>
                      </a:r>
                    </a:p>
                  </a:txBody>
                  <a:tcPr anchor="ctr"/>
                </a:tc>
                <a:extLst>
                  <a:ext uri="{0D108BD9-81ED-4DB2-BD59-A6C34878D82A}">
                    <a16:rowId xmlns:a16="http://schemas.microsoft.com/office/drawing/2014/main" val="2965592075"/>
                  </a:ext>
                </a:extLst>
              </a:tr>
              <a:tr h="0">
                <a:tc>
                  <a:txBody>
                    <a:bodyPr/>
                    <a:lstStyle/>
                    <a:p>
                      <a:pPr>
                        <a:buNone/>
                      </a:pPr>
                      <a:r>
                        <a:rPr lang="en-IN" b="1"/>
                        <a:t>MCP</a:t>
                      </a:r>
                      <a:endParaRPr lang="en-IN"/>
                    </a:p>
                  </a:txBody>
                  <a:tcPr anchor="ctr"/>
                </a:tc>
                <a:tc>
                  <a:txBody>
                    <a:bodyPr/>
                    <a:lstStyle/>
                    <a:p>
                      <a:pPr>
                        <a:buNone/>
                      </a:pPr>
                      <a:r>
                        <a:rPr lang="en-IN"/>
                        <a:t>Tool / Data access for agents</a:t>
                      </a:r>
                    </a:p>
                  </a:txBody>
                  <a:tcPr anchor="ctr"/>
                </a:tc>
                <a:tc>
                  <a:txBody>
                    <a:bodyPr/>
                    <a:lstStyle/>
                    <a:p>
                      <a:pPr>
                        <a:buNone/>
                      </a:pPr>
                      <a:r>
                        <a:rPr lang="en-IN"/>
                        <a:t>Agent ↔ External tools/data</a:t>
                      </a:r>
                    </a:p>
                  </a:txBody>
                  <a:tcPr anchor="ctr"/>
                </a:tc>
                <a:tc>
                  <a:txBody>
                    <a:bodyPr/>
                    <a:lstStyle/>
                    <a:p>
                      <a:pPr>
                        <a:buNone/>
                      </a:pPr>
                      <a:r>
                        <a:rPr lang="en-IN" dirty="0"/>
                        <a:t>Standardized integration, tool/data access, enabling context &amp; actions (</a:t>
                      </a:r>
                      <a:r>
                        <a:rPr lang="en-IN" dirty="0">
                          <a:hlinkClick r:id="rId5" tooltip="Model Context Protocol"/>
                        </a:rPr>
                        <a:t>Wikipedia</a:t>
                      </a:r>
                      <a:r>
                        <a:rPr lang="en-IN" dirty="0"/>
                        <a:t>)</a:t>
                      </a:r>
                    </a:p>
                  </a:txBody>
                  <a:tcPr anchor="ctr"/>
                </a:tc>
                <a:extLst>
                  <a:ext uri="{0D108BD9-81ED-4DB2-BD59-A6C34878D82A}">
                    <a16:rowId xmlns:a16="http://schemas.microsoft.com/office/drawing/2014/main" val="698558944"/>
                  </a:ext>
                </a:extLst>
              </a:tr>
            </a:tbl>
          </a:graphicData>
        </a:graphic>
      </p:graphicFrame>
    </p:spTree>
    <p:extLst>
      <p:ext uri="{BB962C8B-B14F-4D97-AF65-F5344CB8AC3E}">
        <p14:creationId xmlns:p14="http://schemas.microsoft.com/office/powerpoint/2010/main" val="30052773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A2A vs MCP: What Each Does (Comparison)</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2" descr="ADK versus MCP">
            <a:extLst>
              <a:ext uri="{FF2B5EF4-FFF2-40B4-BE49-F238E27FC236}">
                <a16:creationId xmlns:a16="http://schemas.microsoft.com/office/drawing/2014/main" id="{271600E8-461D-3910-F3D7-9E870F26172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85800" y="1977120"/>
            <a:ext cx="11029729" cy="337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76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ypes of </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GenAI</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2" name="Rectangle: Diagonal Corners Snipped 1">
            <a:extLst>
              <a:ext uri="{FF2B5EF4-FFF2-40B4-BE49-F238E27FC236}">
                <a16:creationId xmlns:a16="http://schemas.microsoft.com/office/drawing/2014/main" id="{E51E1714-CAC4-C1BB-8F1F-B1155406404F}"/>
              </a:ext>
            </a:extLst>
          </p:cNvPr>
          <p:cNvSpPr/>
          <p:nvPr/>
        </p:nvSpPr>
        <p:spPr>
          <a:xfrm>
            <a:off x="654518" y="1078029"/>
            <a:ext cx="10915048" cy="5072514"/>
          </a:xfrm>
          <a:prstGeom prst="snip2DiagRect">
            <a:avLst/>
          </a:prstGeom>
          <a:solidFill>
            <a:schemeClr val="bg1"/>
          </a:solid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2279662D-CE9A-4FD4-0F6B-E6BC22B70DC4}"/>
              </a:ext>
            </a:extLst>
          </p:cNvPr>
          <p:cNvPicPr>
            <a:picLocks noChangeAspect="1"/>
          </p:cNvPicPr>
          <p:nvPr/>
        </p:nvPicPr>
        <p:blipFill>
          <a:blip r:embed="rId4" cstate="print"/>
          <a:stretch>
            <a:fillRect/>
          </a:stretch>
        </p:blipFill>
        <p:spPr>
          <a:xfrm>
            <a:off x="989214" y="999051"/>
            <a:ext cx="10213571" cy="4674841"/>
          </a:xfrm>
          <a:prstGeom prst="rect">
            <a:avLst/>
          </a:prstGeom>
        </p:spPr>
      </p:pic>
    </p:spTree>
    <p:extLst>
      <p:ext uri="{BB962C8B-B14F-4D97-AF65-F5344CB8AC3E}">
        <p14:creationId xmlns:p14="http://schemas.microsoft.com/office/powerpoint/2010/main" val="414986628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y Use Both Together?</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541769" y="2286000"/>
            <a:ext cx="10896600" cy="2554545"/>
          </a:xfrm>
          <a:prstGeom prst="rect">
            <a:avLst/>
          </a:prstGeom>
          <a:noFill/>
        </p:spPr>
        <p:txBody>
          <a:bodyPr wrap="square">
            <a:spAutoFit/>
          </a:bodyPr>
          <a:lstStyle/>
          <a:p>
            <a:pPr marL="342900" indent="-342900">
              <a:buFont typeface="Wingdings" panose="05000000000000000000" pitchFamily="2" charset="2"/>
              <a:buChar char="v"/>
            </a:pPr>
            <a:r>
              <a:rPr lang="en-IN" sz="2000" dirty="0">
                <a:latin typeface="Arial" panose="020B0604020202020204" pitchFamily="34" charset="0"/>
                <a:cs typeface="Arial" panose="020B0604020202020204" pitchFamily="34" charset="0"/>
              </a:rPr>
              <a:t>Multi-agent system where agents collaborate (A2A) AND also need external data/tools (MCP) — combination gives full power: collaboration + context-aware capabilities.</a:t>
            </a: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IN" sz="2000" dirty="0">
                <a:latin typeface="Arial" panose="020B0604020202020204" pitchFamily="34" charset="0"/>
                <a:cs typeface="Arial" panose="020B0604020202020204" pitchFamily="34" charset="0"/>
              </a:rPr>
              <a:t>Enables building complex, real-world workflows: e.g. one agent fetches data (via MCP), passes to analysis agent (via A2A), another agent triggers action (via MCP) — all in a coordinated, standardized way.</a:t>
            </a:r>
            <a:endParaRPr lang="en-US" sz="20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44961570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656930"/>
              <a:ext cx="8174476" cy="4347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Example Scenario: Applying A2A + MCP</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37438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cenario Overview</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463629" y="1911639"/>
            <a:ext cx="10896600" cy="3574761"/>
          </a:xfrm>
          <a:prstGeom prst="rect">
            <a:avLst/>
          </a:prstGeom>
          <a:noFill/>
        </p:spPr>
        <p:txBody>
          <a:bodyPr wrap="square">
            <a:spAutoFit/>
          </a:bodyPr>
          <a:lstStyle/>
          <a:p>
            <a:pPr>
              <a:spcBef>
                <a:spcPts val="600"/>
              </a:spcBef>
              <a:buNone/>
            </a:pPr>
            <a:r>
              <a:rPr lang="en-IN" sz="2000" b="1" dirty="0">
                <a:latin typeface="Arial" panose="020B0604020202020204" pitchFamily="34" charset="0"/>
                <a:cs typeface="Arial" panose="020B0604020202020204" pitchFamily="34" charset="0"/>
              </a:rPr>
              <a:t>Scenario:</a:t>
            </a:r>
            <a:r>
              <a:rPr lang="en-IN" sz="2000" dirty="0">
                <a:latin typeface="Arial" panose="020B0604020202020204" pitchFamily="34" charset="0"/>
                <a:cs typeface="Arial" panose="020B0604020202020204" pitchFamily="34" charset="0"/>
              </a:rPr>
              <a:t> Smart Home Management — agents manage weather data, energy prices, devices, and user preferences to optimize home energy consumption.</a:t>
            </a:r>
          </a:p>
          <a:p>
            <a:pPr marL="0" indent="0">
              <a:buNone/>
            </a:pPr>
            <a:r>
              <a:rPr lang="en-IN" sz="2000" dirty="0">
                <a:latin typeface="Arial" panose="020B0604020202020204" pitchFamily="34" charset="0"/>
                <a:cs typeface="Arial" panose="020B0604020202020204" pitchFamily="34" charset="0"/>
              </a:rPr>
              <a:t>Agents involved:</a:t>
            </a:r>
          </a:p>
          <a:p>
            <a:pPr marL="0" indent="0">
              <a:buNone/>
            </a:pPr>
            <a:endParaRPr lang="en-IN" sz="2000" dirty="0">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en-IN" sz="2000" dirty="0">
                <a:latin typeface="Arial" panose="020B0604020202020204" pitchFamily="34" charset="0"/>
                <a:cs typeface="Arial" panose="020B0604020202020204" pitchFamily="34" charset="0"/>
              </a:rPr>
              <a:t>Weather Agent</a:t>
            </a:r>
          </a:p>
          <a:p>
            <a:pPr marL="742950" lvl="1" indent="-285750">
              <a:lnSpc>
                <a:spcPct val="150000"/>
              </a:lnSpc>
              <a:buFont typeface="Arial" panose="020B0604020202020204" pitchFamily="34" charset="0"/>
              <a:buChar char="•"/>
            </a:pPr>
            <a:r>
              <a:rPr lang="en-IN" sz="2000" dirty="0">
                <a:latin typeface="Arial" panose="020B0604020202020204" pitchFamily="34" charset="0"/>
                <a:cs typeface="Arial" panose="020B0604020202020204" pitchFamily="34" charset="0"/>
              </a:rPr>
              <a:t>Grid-Price Agent</a:t>
            </a:r>
          </a:p>
          <a:p>
            <a:pPr marL="742950" lvl="1" indent="-285750">
              <a:lnSpc>
                <a:spcPct val="150000"/>
              </a:lnSpc>
              <a:buFont typeface="Arial" panose="020B0604020202020204" pitchFamily="34" charset="0"/>
              <a:buChar char="•"/>
            </a:pPr>
            <a:r>
              <a:rPr lang="en-IN" sz="2000" dirty="0">
                <a:latin typeface="Arial" panose="020B0604020202020204" pitchFamily="34" charset="0"/>
                <a:cs typeface="Arial" panose="020B0604020202020204" pitchFamily="34" charset="0"/>
              </a:rPr>
              <a:t>Device Control Agent</a:t>
            </a:r>
          </a:p>
          <a:p>
            <a:pPr marL="742950" lvl="1" indent="-285750">
              <a:lnSpc>
                <a:spcPct val="150000"/>
              </a:lnSpc>
              <a:buFont typeface="Arial" panose="020B0604020202020204" pitchFamily="34" charset="0"/>
              <a:buChar char="•"/>
            </a:pPr>
            <a:r>
              <a:rPr lang="en-IN" sz="2000" dirty="0">
                <a:latin typeface="Arial" panose="020B0604020202020204" pitchFamily="34" charset="0"/>
                <a:cs typeface="Arial" panose="020B0604020202020204" pitchFamily="34" charset="0"/>
              </a:rPr>
              <a:t>User Preference Agent</a:t>
            </a:r>
          </a:p>
          <a:p>
            <a:pPr marL="742950" lvl="1" indent="-285750">
              <a:lnSpc>
                <a:spcPct val="150000"/>
              </a:lnSpc>
              <a:buFont typeface="Arial" panose="020B0604020202020204" pitchFamily="34" charset="0"/>
              <a:buChar char="•"/>
            </a:pPr>
            <a:r>
              <a:rPr lang="en-IN" sz="2000" dirty="0">
                <a:latin typeface="Arial" panose="020B0604020202020204" pitchFamily="34" charset="0"/>
                <a:cs typeface="Arial" panose="020B0604020202020204" pitchFamily="34" charset="0"/>
              </a:rPr>
              <a:t>Energy Optimization Agent</a:t>
            </a:r>
          </a:p>
        </p:txBody>
      </p:sp>
    </p:spTree>
    <p:extLst>
      <p:ext uri="{BB962C8B-B14F-4D97-AF65-F5344CB8AC3E}">
        <p14:creationId xmlns:p14="http://schemas.microsoft.com/office/powerpoint/2010/main" val="25864616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Agents Interact: MCP + A2A Flow</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406272" y="1798889"/>
            <a:ext cx="11347371" cy="3728649"/>
          </a:xfrm>
          <a:prstGeom prst="rect">
            <a:avLst/>
          </a:prstGeom>
          <a:noFill/>
        </p:spPr>
        <p:txBody>
          <a:bodyPr wrap="square">
            <a:spAutoFit/>
          </a:bodyPr>
          <a:lstStyle/>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Weather Agent uses MCP to fetch weather forecast from external API.</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Grid-Price Agent uses MCP to fetch real-time energy price data.</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User Preference Agent gathers user’s preferences (from local DB via MCP).</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All data passed (via A2A) to Energy Optimization Agent which </a:t>
            </a:r>
            <a:r>
              <a:rPr lang="en-IN" sz="2000" dirty="0" err="1">
                <a:latin typeface="Arial" panose="020B0604020202020204" pitchFamily="34" charset="0"/>
                <a:cs typeface="Arial" panose="020B0604020202020204" pitchFamily="34" charset="0"/>
              </a:rPr>
              <a:t>analyzes</a:t>
            </a:r>
            <a:r>
              <a:rPr lang="en-IN" sz="2000" dirty="0">
                <a:latin typeface="Arial" panose="020B0604020202020204" pitchFamily="34" charset="0"/>
                <a:cs typeface="Arial" panose="020B0604020202020204" pitchFamily="34" charset="0"/>
              </a:rPr>
              <a:t> and computes optimal device schedule.</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Energy Optimization Agent sends instructions (via A2A / MCP) to Device Control Agent to adjust smart devices.</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Device Control Agent executes, sends status back; the user sees updated schedule or report.</a:t>
            </a:r>
            <a:endParaRPr lang="en-US" sz="20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13116303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enefits of This Setup (Why A2A + MCP help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406272" y="1924276"/>
            <a:ext cx="11347371" cy="3477875"/>
          </a:xfrm>
          <a:prstGeom prst="rect">
            <a:avLst/>
          </a:prstGeom>
          <a:noFill/>
        </p:spPr>
        <p:txBody>
          <a:bodyPr wrap="square">
            <a:spAutoFit/>
          </a:bodyPr>
          <a:lstStyle/>
          <a:p>
            <a:pPr marL="342900" indent="-342900">
              <a:buFont typeface="Wingdings" panose="05000000000000000000" pitchFamily="2" charset="2"/>
              <a:buChar char="v"/>
            </a:pPr>
            <a:r>
              <a:rPr lang="en-IN" sz="2000" b="1" dirty="0">
                <a:latin typeface="Arial" panose="020B0604020202020204" pitchFamily="34" charset="0"/>
                <a:cs typeface="Arial" panose="020B0604020202020204" pitchFamily="34" charset="0"/>
              </a:rPr>
              <a:t>Modular: </a:t>
            </a:r>
            <a:r>
              <a:rPr lang="en-IN" sz="2000" dirty="0">
                <a:latin typeface="Arial" panose="020B0604020202020204" pitchFamily="34" charset="0"/>
                <a:cs typeface="Arial" panose="020B0604020202020204" pitchFamily="34" charset="0"/>
              </a:rPr>
              <a:t>each agent handles one responsibility (data fetch, optimization, control) — easy to maintain &amp; update.</a:t>
            </a: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IN" sz="2000" b="1" dirty="0">
                <a:latin typeface="Arial" panose="020B0604020202020204" pitchFamily="34" charset="0"/>
                <a:cs typeface="Arial" panose="020B0604020202020204" pitchFamily="34" charset="0"/>
              </a:rPr>
              <a:t>Scalable: </a:t>
            </a:r>
            <a:r>
              <a:rPr lang="en-IN" sz="2000" dirty="0">
                <a:latin typeface="Arial" panose="020B0604020202020204" pitchFamily="34" charset="0"/>
                <a:cs typeface="Arial" panose="020B0604020202020204" pitchFamily="34" charset="0"/>
              </a:rPr>
              <a:t>new agents (e.g. Security Agent, Maintenance Agent) can be added without re-architecting entire system.</a:t>
            </a: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IN" sz="2000" b="1" dirty="0">
                <a:latin typeface="Arial" panose="020B0604020202020204" pitchFamily="34" charset="0"/>
                <a:cs typeface="Arial" panose="020B0604020202020204" pitchFamily="34" charset="0"/>
              </a:rPr>
              <a:t>Real-time &amp; dynamic: </a:t>
            </a:r>
            <a:r>
              <a:rPr lang="en-IN" sz="2000" dirty="0">
                <a:latin typeface="Arial" panose="020B0604020202020204" pitchFamily="34" charset="0"/>
                <a:cs typeface="Arial" panose="020B0604020202020204" pitchFamily="34" charset="0"/>
              </a:rPr>
              <a:t>agents fetch live data, react to changes (weather, price), adapt schedule.</a:t>
            </a:r>
          </a:p>
          <a:p>
            <a:pPr marL="342900" indent="-342900">
              <a:buFont typeface="Wingdings" panose="05000000000000000000" pitchFamily="2" charset="2"/>
              <a:buChar char="v"/>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v"/>
            </a:pPr>
            <a:r>
              <a:rPr lang="en-IN" sz="2000" b="1" dirty="0">
                <a:latin typeface="Arial" panose="020B0604020202020204" pitchFamily="34" charset="0"/>
                <a:cs typeface="Arial" panose="020B0604020202020204" pitchFamily="34" charset="0"/>
              </a:rPr>
              <a:t>Interoperable: </a:t>
            </a:r>
            <a:r>
              <a:rPr lang="en-IN" sz="2000" dirty="0">
                <a:latin typeface="Arial" panose="020B0604020202020204" pitchFamily="34" charset="0"/>
                <a:cs typeface="Arial" panose="020B0604020202020204" pitchFamily="34" charset="0"/>
              </a:rPr>
              <a:t>agents built on different frameworks/tools still communicate via A2A; data/tools via MCP.</a:t>
            </a:r>
            <a:endParaRPr lang="en-US" sz="2000" dirty="0">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0726458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at Could Go Wrong &amp; What to Monitor</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393130" y="1981200"/>
            <a:ext cx="11347371" cy="3170099"/>
          </a:xfrm>
          <a:prstGeom prst="rect">
            <a:avLst/>
          </a:prstGeom>
          <a:noFill/>
        </p:spPr>
        <p:txBody>
          <a:bodyPr wrap="square">
            <a:spAutoFit/>
          </a:bodyPr>
          <a:lstStyle/>
          <a:p>
            <a:pPr marL="342900" indent="-342900">
              <a:buFont typeface="Wingdings" panose="05000000000000000000" pitchFamily="2" charset="2"/>
              <a:buChar char="Ø"/>
            </a:pPr>
            <a:r>
              <a:rPr lang="en-IN" sz="2000" b="1" dirty="0">
                <a:latin typeface="Arial" panose="020B0604020202020204" pitchFamily="34" charset="0"/>
                <a:cs typeface="Arial" panose="020B0604020202020204" pitchFamily="34" charset="0"/>
              </a:rPr>
              <a:t>Data freshness issues: </a:t>
            </a:r>
            <a:r>
              <a:rPr lang="en-IN" sz="2000" dirty="0">
                <a:latin typeface="Arial" panose="020B0604020202020204" pitchFamily="34" charset="0"/>
                <a:cs typeface="Arial" panose="020B0604020202020204" pitchFamily="34" charset="0"/>
              </a:rPr>
              <a:t>If external APIs fail or data outdated → wrong scheduling decisions</a:t>
            </a:r>
          </a:p>
          <a:p>
            <a:pPr marL="342900" indent="-342900">
              <a:buFont typeface="Wingdings" panose="05000000000000000000" pitchFamily="2" charset="2"/>
              <a:buChar char="Ø"/>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000" b="1" dirty="0">
                <a:latin typeface="Arial" panose="020B0604020202020204" pitchFamily="34" charset="0"/>
                <a:cs typeface="Arial" panose="020B0604020202020204" pitchFamily="34" charset="0"/>
              </a:rPr>
              <a:t>Communication failure: </a:t>
            </a:r>
            <a:r>
              <a:rPr lang="en-IN" sz="2000" dirty="0">
                <a:latin typeface="Arial" panose="020B0604020202020204" pitchFamily="34" charset="0"/>
                <a:cs typeface="Arial" panose="020B0604020202020204" pitchFamily="34" charset="0"/>
              </a:rPr>
              <a:t>agent discovery / message passing errors — need robust error handling &amp; retries</a:t>
            </a:r>
          </a:p>
          <a:p>
            <a:pPr marL="342900" indent="-342900">
              <a:buFont typeface="Wingdings" panose="05000000000000000000" pitchFamily="2" charset="2"/>
              <a:buChar char="Ø"/>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000" b="1" dirty="0">
                <a:latin typeface="Arial" panose="020B0604020202020204" pitchFamily="34" charset="0"/>
                <a:cs typeface="Arial" panose="020B0604020202020204" pitchFamily="34" charset="0"/>
              </a:rPr>
              <a:t>Conflicting instructions: </a:t>
            </a:r>
            <a:r>
              <a:rPr lang="en-IN" sz="2000" dirty="0">
                <a:latin typeface="Arial" panose="020B0604020202020204" pitchFamily="34" charset="0"/>
                <a:cs typeface="Arial" panose="020B0604020202020204" pitchFamily="34" charset="0"/>
              </a:rPr>
              <a:t>two agents sending contradictory commands to devices — need coordination/locking mechanism</a:t>
            </a:r>
          </a:p>
          <a:p>
            <a:pPr marL="342900" indent="-342900">
              <a:buFont typeface="Wingdings" panose="05000000000000000000" pitchFamily="2" charset="2"/>
              <a:buChar char="Ø"/>
            </a:pPr>
            <a:endParaRPr lang="en-IN"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IN" sz="2000" b="1" dirty="0">
                <a:latin typeface="Arial" panose="020B0604020202020204" pitchFamily="34" charset="0"/>
                <a:cs typeface="Arial" panose="020B0604020202020204" pitchFamily="34" charset="0"/>
              </a:rPr>
              <a:t>Security &amp; access control: </a:t>
            </a:r>
            <a:r>
              <a:rPr lang="en-IN" sz="2000" dirty="0">
                <a:latin typeface="Arial" panose="020B0604020202020204" pitchFamily="34" charset="0"/>
                <a:cs typeface="Arial" panose="020B0604020202020204" pitchFamily="34" charset="0"/>
              </a:rPr>
              <a:t>external APIs, device controls must be authorized, authenticated — protocol-level security important</a:t>
            </a:r>
          </a:p>
        </p:txBody>
      </p:sp>
    </p:spTree>
    <p:extLst>
      <p:ext uri="{BB962C8B-B14F-4D97-AF65-F5344CB8AC3E}">
        <p14:creationId xmlns:p14="http://schemas.microsoft.com/office/powerpoint/2010/main" val="207684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30BD6B-54C4-EE0F-71B8-43E422083994}"/>
              </a:ext>
            </a:extLst>
          </p:cNvPr>
          <p:cNvSpPr/>
          <p:nvPr/>
        </p:nvSpPr>
        <p:spPr>
          <a:xfrm>
            <a:off x="0" y="0"/>
            <a:ext cx="12192000" cy="6858000"/>
          </a:xfrm>
          <a:prstGeom prst="rect">
            <a:avLst/>
          </a:prstGeom>
          <a:solidFill>
            <a:schemeClr val="tx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4" name="Picture 3">
            <a:extLst>
              <a:ext uri="{FF2B5EF4-FFF2-40B4-BE49-F238E27FC236}">
                <a16:creationId xmlns:a16="http://schemas.microsoft.com/office/drawing/2014/main" id="{A356A699-8B1C-4B3D-414E-56B6AD0B9D16}"/>
              </a:ext>
            </a:extLst>
          </p:cNvPr>
          <p:cNvPicPr>
            <a:picLocks noChangeAspect="1"/>
          </p:cNvPicPr>
          <p:nvPr/>
        </p:nvPicPr>
        <p:blipFill>
          <a:blip r:embed="rId3">
            <a:alphaModFix amt="40000"/>
          </a:blip>
          <a:srcRect l="15049" r="17853"/>
          <a:stretch/>
        </p:blipFill>
        <p:spPr>
          <a:xfrm>
            <a:off x="0" y="0"/>
            <a:ext cx="12192001" cy="6990079"/>
          </a:xfrm>
          <a:prstGeom prst="rect">
            <a:avLst/>
          </a:prstGeom>
        </p:spPr>
      </p:pic>
      <p:sp>
        <p:nvSpPr>
          <p:cNvPr id="3" name="Rectangle 2">
            <a:extLst>
              <a:ext uri="{FF2B5EF4-FFF2-40B4-BE49-F238E27FC236}">
                <a16:creationId xmlns:a16="http://schemas.microsoft.com/office/drawing/2014/main" id="{F49B1E36-1940-E694-FD86-B172D138F1D5}"/>
              </a:ext>
            </a:extLst>
          </p:cNvPr>
          <p:cNvSpPr/>
          <p:nvPr/>
        </p:nvSpPr>
        <p:spPr>
          <a:xfrm>
            <a:off x="0" y="0"/>
            <a:ext cx="12192000" cy="6858000"/>
          </a:xfrm>
          <a:prstGeom prst="rect">
            <a:avLst/>
          </a:prstGeom>
          <a:noFill/>
          <a:ln w="76200">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9" name="Group 8">
            <a:extLst>
              <a:ext uri="{FF2B5EF4-FFF2-40B4-BE49-F238E27FC236}">
                <a16:creationId xmlns:a16="http://schemas.microsoft.com/office/drawing/2014/main" id="{294BC91F-143B-859B-8489-BBDA8A749AC5}"/>
              </a:ext>
            </a:extLst>
          </p:cNvPr>
          <p:cNvGrpSpPr/>
          <p:nvPr/>
        </p:nvGrpSpPr>
        <p:grpSpPr>
          <a:xfrm>
            <a:off x="723900" y="2669062"/>
            <a:ext cx="10744200" cy="1210833"/>
            <a:chOff x="1732280" y="1455443"/>
            <a:chExt cx="8727440" cy="900184"/>
          </a:xfrm>
        </p:grpSpPr>
        <p:sp>
          <p:nvSpPr>
            <p:cNvPr id="6" name="Rectangle: Rounded Corners 5">
              <a:extLst>
                <a:ext uri="{FF2B5EF4-FFF2-40B4-BE49-F238E27FC236}">
                  <a16:creationId xmlns:a16="http://schemas.microsoft.com/office/drawing/2014/main" id="{4785C793-8657-7721-B848-775D6E8EAEF7}"/>
                </a:ext>
              </a:extLst>
            </p:cNvPr>
            <p:cNvSpPr/>
            <p:nvPr/>
          </p:nvSpPr>
          <p:spPr>
            <a:xfrm>
              <a:off x="1732280" y="1455443"/>
              <a:ext cx="8727440" cy="900184"/>
            </a:xfrm>
            <a:prstGeom prst="roundRect">
              <a:avLst/>
            </a:prstGeom>
            <a:solidFill>
              <a:schemeClr val="bg1"/>
            </a:solidFill>
            <a:ln w="19050">
              <a:solidFill>
                <a:schemeClr val="accent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F652B623-5918-340B-CD66-D9BB3D0EE86A}"/>
                </a:ext>
              </a:extLst>
            </p:cNvPr>
            <p:cNvSpPr txBox="1"/>
            <p:nvPr/>
          </p:nvSpPr>
          <p:spPr>
            <a:xfrm>
              <a:off x="2008762" y="1656930"/>
              <a:ext cx="8174476" cy="4347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Arial"/>
                </a:rPr>
                <a:t>Summary &amp; Takeaways</a:t>
              </a:r>
              <a:endParaRPr kumimoji="0" lang="en-US" sz="32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7353061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Key Concepts Recap</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3D6AB21-AFFB-EF4B-273B-FAEED178F710}"/>
              </a:ext>
            </a:extLst>
          </p:cNvPr>
          <p:cNvSpPr txBox="1"/>
          <p:nvPr/>
        </p:nvSpPr>
        <p:spPr>
          <a:xfrm>
            <a:off x="376565" y="1891688"/>
            <a:ext cx="11664175" cy="3074624"/>
          </a:xfrm>
          <a:prstGeom prst="rect">
            <a:avLst/>
          </a:prstGeom>
          <a:noFill/>
        </p:spPr>
        <p:txBody>
          <a:bodyPr wrap="square">
            <a:spAutoFit/>
          </a:bodyPr>
          <a:lstStyle/>
          <a:p>
            <a:pPr marL="457200" indent="-457200">
              <a:lnSpc>
                <a:spcPct val="200000"/>
              </a:lnSpc>
              <a:buFont typeface="Wingdings" panose="05000000000000000000" pitchFamily="2" charset="2"/>
              <a:buChar char="Ø"/>
            </a:pPr>
            <a:r>
              <a:rPr lang="en-IN" sz="2000" b="1" dirty="0"/>
              <a:t>Agentic AI</a:t>
            </a:r>
            <a:r>
              <a:rPr lang="en-IN" sz="2000" dirty="0"/>
              <a:t> benefits when agents collaborate &amp; specialize</a:t>
            </a:r>
          </a:p>
          <a:p>
            <a:pPr marL="457200" indent="-457200">
              <a:lnSpc>
                <a:spcPct val="200000"/>
              </a:lnSpc>
              <a:buFont typeface="Wingdings" panose="05000000000000000000" pitchFamily="2" charset="2"/>
              <a:buChar char="Ø"/>
            </a:pPr>
            <a:r>
              <a:rPr lang="en-IN" sz="2000" b="1" dirty="0"/>
              <a:t>Protocols</a:t>
            </a:r>
            <a:r>
              <a:rPr lang="en-IN" sz="2000" dirty="0"/>
              <a:t> essential for scalable, interoperable agent ecosystems</a:t>
            </a:r>
          </a:p>
          <a:p>
            <a:pPr marL="457200" indent="-457200">
              <a:lnSpc>
                <a:spcPct val="200000"/>
              </a:lnSpc>
              <a:buFont typeface="Wingdings" panose="05000000000000000000" pitchFamily="2" charset="2"/>
              <a:buChar char="Ø"/>
            </a:pPr>
            <a:r>
              <a:rPr lang="en-IN" sz="2000" b="1" dirty="0"/>
              <a:t>A2A: </a:t>
            </a:r>
            <a:r>
              <a:rPr lang="en-IN" sz="2000" dirty="0"/>
              <a:t>agent-to-agent communication &amp; coordination</a:t>
            </a:r>
          </a:p>
          <a:p>
            <a:pPr marL="457200" indent="-457200">
              <a:lnSpc>
                <a:spcPct val="200000"/>
              </a:lnSpc>
              <a:buFont typeface="Wingdings" panose="05000000000000000000" pitchFamily="2" charset="2"/>
              <a:buChar char="Ø"/>
            </a:pPr>
            <a:r>
              <a:rPr lang="en-IN" sz="2000" b="1" dirty="0"/>
              <a:t>MCP: </a:t>
            </a:r>
            <a:r>
              <a:rPr lang="en-IN" sz="2000" dirty="0"/>
              <a:t>tool/data integration &amp; context-aware capabilities</a:t>
            </a:r>
          </a:p>
          <a:p>
            <a:pPr marL="457200" indent="-457200">
              <a:lnSpc>
                <a:spcPct val="200000"/>
              </a:lnSpc>
              <a:buFont typeface="Wingdings" panose="05000000000000000000" pitchFamily="2" charset="2"/>
              <a:buChar char="Ø"/>
            </a:pPr>
            <a:r>
              <a:rPr lang="en-IN" sz="2000" b="1" dirty="0"/>
              <a:t>Combining A2A + MCP gives power: </a:t>
            </a:r>
            <a:r>
              <a:rPr lang="en-IN" sz="2000" dirty="0"/>
              <a:t>modular, flexible, real-world capable multi-agent systems</a:t>
            </a:r>
          </a:p>
        </p:txBody>
      </p:sp>
    </p:spTree>
    <p:extLst>
      <p:ext uri="{BB962C8B-B14F-4D97-AF65-F5344CB8AC3E}">
        <p14:creationId xmlns:p14="http://schemas.microsoft.com/office/powerpoint/2010/main" val="8335830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When to Use What / Design Advice</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6841986-9AA2-05A8-9DC0-3C1A55E26F84}"/>
              </a:ext>
            </a:extLst>
          </p:cNvPr>
          <p:cNvSpPr txBox="1"/>
          <p:nvPr/>
        </p:nvSpPr>
        <p:spPr>
          <a:xfrm>
            <a:off x="386504" y="1510349"/>
            <a:ext cx="11236947" cy="4305730"/>
          </a:xfrm>
          <a:prstGeom prst="rect">
            <a:avLst/>
          </a:prstGeom>
          <a:noFill/>
        </p:spPr>
        <p:txBody>
          <a:bodyPr wrap="square">
            <a:spAutoFit/>
          </a:bodyPr>
          <a:lstStyle/>
          <a:p>
            <a:pPr marL="457200" indent="-457200">
              <a:lnSpc>
                <a:spcPct val="20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Use MCP when agents need external data/tools — good for single agent or small systems needing tool access</a:t>
            </a:r>
          </a:p>
          <a:p>
            <a:pPr marL="457200" indent="-457200">
              <a:lnSpc>
                <a:spcPct val="20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Use A2A when you have multiple agents handling different roles/tasks — need collaboration, task delegation, specialization</a:t>
            </a:r>
          </a:p>
          <a:p>
            <a:pPr marL="457200" indent="-457200">
              <a:lnSpc>
                <a:spcPct val="20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For complex, real-world systems — design with both: data/tool access + agent collaboration</a:t>
            </a:r>
          </a:p>
          <a:p>
            <a:pPr marL="457200" indent="-457200">
              <a:lnSpc>
                <a:spcPct val="20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Always ensure security, error-handling, clear roles, and data governance when integrating agents &amp; external tools</a:t>
            </a:r>
          </a:p>
        </p:txBody>
      </p:sp>
    </p:spTree>
    <p:extLst>
      <p:ext uri="{BB962C8B-B14F-4D97-AF65-F5344CB8AC3E}">
        <p14:creationId xmlns:p14="http://schemas.microsoft.com/office/powerpoint/2010/main" val="28315972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3E7F068C-7331-4C29-982C-3427FBB32AA9}"/>
              </a:ext>
            </a:extLst>
          </p:cNvPr>
          <p:cNvSpPr txBox="1">
            <a:spLocks/>
          </p:cNvSpPr>
          <p:nvPr/>
        </p:nvSpPr>
        <p:spPr>
          <a:xfrm>
            <a:off x="360000" y="360000"/>
            <a:ext cx="11260138" cy="508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Further Reading &amp; Resources</a:t>
            </a:r>
          </a:p>
        </p:txBody>
      </p:sp>
      <p:pic>
        <p:nvPicPr>
          <p:cNvPr id="11" name="Picture 10" descr="A logo with a black background&#10;&#10;AI-generated content may be incorrect.">
            <a:extLst>
              <a:ext uri="{FF2B5EF4-FFF2-40B4-BE49-F238E27FC236}">
                <a16:creationId xmlns:a16="http://schemas.microsoft.com/office/drawing/2014/main" id="{49C9F245-8A8B-4D14-5C0D-5803621620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9551" y="262854"/>
            <a:ext cx="450739" cy="526974"/>
          </a:xfrm>
          <a:prstGeom prst="rect">
            <a:avLst/>
          </a:prstGeom>
        </p:spPr>
      </p:pic>
      <p:sp>
        <p:nvSpPr>
          <p:cNvPr id="3" name="Rectangle: Rounded Corners 2">
            <a:extLst>
              <a:ext uri="{FF2B5EF4-FFF2-40B4-BE49-F238E27FC236}">
                <a16:creationId xmlns:a16="http://schemas.microsoft.com/office/drawing/2014/main" id="{F4C7C07E-FC32-B058-0278-7F3D491ACB77}"/>
              </a:ext>
            </a:extLst>
          </p:cNvPr>
          <p:cNvSpPr/>
          <p:nvPr/>
        </p:nvSpPr>
        <p:spPr>
          <a:xfrm>
            <a:off x="247871" y="1078029"/>
            <a:ext cx="11664175" cy="5170371"/>
          </a:xfrm>
          <a:prstGeom prst="roundRect">
            <a:avLst/>
          </a:prstGeom>
          <a:noFill/>
          <a:ln w="57150">
            <a:solidFill>
              <a:schemeClr val="accent2"/>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Content Placeholder 2">
            <a:extLst>
              <a:ext uri="{FF2B5EF4-FFF2-40B4-BE49-F238E27FC236}">
                <a16:creationId xmlns:a16="http://schemas.microsoft.com/office/drawing/2014/main" id="{628A0F3F-22F1-230B-5744-3E03118DB464}"/>
              </a:ext>
            </a:extLst>
          </p:cNvPr>
          <p:cNvSpPr txBox="1">
            <a:spLocks/>
          </p:cNvSpPr>
          <p:nvPr/>
        </p:nvSpPr>
        <p:spPr>
          <a:xfrm>
            <a:off x="519792" y="1843832"/>
            <a:ext cx="11392254" cy="3638764"/>
          </a:xfrm>
          <a:prstGeom prst="rect">
            <a:avLst/>
          </a:prstGeom>
        </p:spPr>
        <p:txBody>
          <a:bodyPr>
            <a:normAutofit lnSpcReduction="10000"/>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Article: “</a:t>
            </a:r>
            <a:r>
              <a:rPr lang="en-IN" sz="2000" i="1" dirty="0">
                <a:latin typeface="Arial" panose="020B0604020202020204" pitchFamily="34" charset="0"/>
                <a:cs typeface="Arial" panose="020B0604020202020204" pitchFamily="34" charset="0"/>
              </a:rPr>
              <a:t>Building AI Agents? A2A vs. MCP Explained Simply</a:t>
            </a:r>
            <a:r>
              <a:rPr lang="en-IN" sz="2000" dirty="0">
                <a:latin typeface="Arial" panose="020B0604020202020204" pitchFamily="34" charset="0"/>
                <a:cs typeface="Arial" panose="020B0604020202020204" pitchFamily="34" charset="0"/>
              </a:rPr>
              <a:t>” — good primer.</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Survey: </a:t>
            </a:r>
            <a:r>
              <a:rPr lang="en-IN" sz="2000" i="1" dirty="0">
                <a:latin typeface="Arial" panose="020B0604020202020204" pitchFamily="34" charset="0"/>
                <a:cs typeface="Arial" panose="020B0604020202020204" pitchFamily="34" charset="0"/>
              </a:rPr>
              <a:t>“A survey of agent interoperability protocols: MCP, A2A, ACP, ANP”</a:t>
            </a:r>
            <a:r>
              <a:rPr lang="en-IN" sz="2000" dirty="0">
                <a:latin typeface="Arial" panose="020B0604020202020204" pitchFamily="34" charset="0"/>
                <a:cs typeface="Arial" panose="020B0604020202020204" pitchFamily="34" charset="0"/>
              </a:rPr>
              <a:t> — deeper conceptual &amp; technical coverage.</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rPr>
              <a:t>Blog: </a:t>
            </a:r>
            <a:r>
              <a:rPr lang="en-IN" sz="2000" i="1" dirty="0">
                <a:latin typeface="Arial" panose="020B0604020202020204" pitchFamily="34" charset="0"/>
                <a:cs typeface="Arial" panose="020B0604020202020204" pitchFamily="34" charset="0"/>
              </a:rPr>
              <a:t>“Agentic AI Protocols: MCP, A2A, and ACP”</a:t>
            </a:r>
            <a:r>
              <a:rPr lang="en-IN" sz="2000" dirty="0">
                <a:latin typeface="Arial" panose="020B0604020202020204" pitchFamily="34" charset="0"/>
                <a:cs typeface="Arial" panose="020B0604020202020204" pitchFamily="34" charset="0"/>
              </a:rPr>
              <a:t> — practical use-cases &amp; combinations.</a:t>
            </a: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hlinkClick r:id="rId4"/>
              </a:rPr>
              <a:t>https://www.ibm.com/think/topics/agent2agent-protocol#684929709</a:t>
            </a:r>
            <a:endParaRPr lang="en-IN" sz="2000" dirty="0">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hlinkClick r:id="rId5"/>
              </a:rPr>
              <a:t>https://www.ibm.com/think/topics/model-context-protocol#179371084</a:t>
            </a:r>
            <a:endParaRPr lang="en-IN" sz="2000" dirty="0">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hlinkClick r:id="rId6"/>
              </a:rPr>
              <a:t>https://www.geeksforgeeks.org/artificial-intelligence/model-context-protocol-mcp/</a:t>
            </a:r>
            <a:endParaRPr lang="en-IN" sz="2000" dirty="0">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Ø"/>
            </a:pPr>
            <a:r>
              <a:rPr lang="en-IN" sz="2000" dirty="0">
                <a:latin typeface="Arial" panose="020B0604020202020204" pitchFamily="34" charset="0"/>
                <a:cs typeface="Arial" panose="020B0604020202020204" pitchFamily="34" charset="0"/>
                <a:hlinkClick r:id="rId7"/>
              </a:rPr>
              <a:t>https://youtu.be/mFkw3p5qSuA?si=Nv7KawFQh4CjpOGV</a:t>
            </a: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127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203</TotalTime>
  <Words>6221</Words>
  <Application>Microsoft Office PowerPoint</Application>
  <PresentationFormat>Widescreen</PresentationFormat>
  <Paragraphs>789</Paragraphs>
  <Slides>100</Slides>
  <Notes>5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00</vt:i4>
      </vt:variant>
    </vt:vector>
  </HeadingPairs>
  <TitlesOfParts>
    <vt:vector size="118" baseType="lpstr">
      <vt:lpstr>Aptos</vt:lpstr>
      <vt:lpstr>Arial</vt:lpstr>
      <vt:lpstr>Arial Bold</vt:lpstr>
      <vt:lpstr>Arial MT</vt:lpstr>
      <vt:lpstr>Avenir Next LT Pro</vt:lpstr>
      <vt:lpstr>Calibri</vt:lpstr>
      <vt:lpstr>Calibri Light</vt:lpstr>
      <vt:lpstr>Century Gothic</vt:lpstr>
      <vt:lpstr>Consolas</vt:lpstr>
      <vt:lpstr>Inter</vt:lpstr>
      <vt:lpstr>Tahoma</vt:lpstr>
      <vt:lpstr>Wingdings</vt:lpstr>
      <vt:lpstr>Office Theme</vt:lpstr>
      <vt:lpstr>2_Office Theme</vt:lpstr>
      <vt:lpstr>10_Office Theme</vt:lpstr>
      <vt:lpstr>3_Office Theme</vt:lpstr>
      <vt:lpstr>4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gentic AI</dc:title>
  <dc:creator>Sunil Bhardwaj</dc:creator>
  <cp:lastModifiedBy>Kumar, Harish</cp:lastModifiedBy>
  <cp:revision>79</cp:revision>
  <dcterms:created xsi:type="dcterms:W3CDTF">2025-05-07T07:05:45Z</dcterms:created>
  <dcterms:modified xsi:type="dcterms:W3CDTF">2026-01-19T04:0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01-06T00:00:00Z</vt:filetime>
  </property>
  <property fmtid="{D5CDD505-2E9C-101B-9397-08002B2CF9AE}" pid="3" name="LastSaved">
    <vt:filetime>2025-05-07T00:00:00Z</vt:filetime>
  </property>
  <property fmtid="{D5CDD505-2E9C-101B-9397-08002B2CF9AE}" pid="4" name="MSIP_Label_fe6ee112-9e5c-4f16-b63d-fcad06e1707e_Enabled">
    <vt:lpwstr>true</vt:lpwstr>
  </property>
  <property fmtid="{D5CDD505-2E9C-101B-9397-08002B2CF9AE}" pid="5" name="MSIP_Label_fe6ee112-9e5c-4f16-b63d-fcad06e1707e_SetDate">
    <vt:lpwstr>2026-01-18T19:47:32Z</vt:lpwstr>
  </property>
  <property fmtid="{D5CDD505-2E9C-101B-9397-08002B2CF9AE}" pid="6" name="MSIP_Label_fe6ee112-9e5c-4f16-b63d-fcad06e1707e_Method">
    <vt:lpwstr>Standard</vt:lpwstr>
  </property>
  <property fmtid="{D5CDD505-2E9C-101B-9397-08002B2CF9AE}" pid="7" name="MSIP_Label_fe6ee112-9e5c-4f16-b63d-fcad06e1707e_Name">
    <vt:lpwstr>Internal Use</vt:lpwstr>
  </property>
  <property fmtid="{D5CDD505-2E9C-101B-9397-08002B2CF9AE}" pid="8" name="MSIP_Label_fe6ee112-9e5c-4f16-b63d-fcad06e1707e_SiteId">
    <vt:lpwstr>8ac76c91-e7f1-41ff-a89c-3553b2da2c17</vt:lpwstr>
  </property>
  <property fmtid="{D5CDD505-2E9C-101B-9397-08002B2CF9AE}" pid="9" name="MSIP_Label_fe6ee112-9e5c-4f16-b63d-fcad06e1707e_ActionId">
    <vt:lpwstr>ed8a7bac-60a1-40b2-9b6e-edf5c96126b9</vt:lpwstr>
  </property>
  <property fmtid="{D5CDD505-2E9C-101B-9397-08002B2CF9AE}" pid="10" name="MSIP_Label_fe6ee112-9e5c-4f16-b63d-fcad06e1707e_ContentBits">
    <vt:lpwstr>0</vt:lpwstr>
  </property>
  <property fmtid="{D5CDD505-2E9C-101B-9397-08002B2CF9AE}" pid="11" name="MSIP_Label_fe6ee112-9e5c-4f16-b63d-fcad06e1707e_Tag">
    <vt:lpwstr>10, 3, 0, 1</vt:lpwstr>
  </property>
</Properties>
</file>